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diagrams/data1.xml" ContentType="application/vnd.openxmlformats-officedocument.drawingml.diagramData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5.xml" ContentType="application/vnd.openxmlformats-officedocument.theme+xml"/>
  <Override PartName="/ppt/commentAuthors.xml" ContentType="application/vnd.openxmlformats-officedocument.presentationml.commentAuthors+xml"/>
  <Override PartName="/ppt/theme/theme6.xml" ContentType="application/vnd.openxmlformats-officedocument.theme+xml"/>
  <Override PartName="/ppt/theme/theme1.xml" ContentType="application/vnd.openxmlformats-officedocument.theme+xml"/>
  <Override PartName="/ppt/theme/theme2.xml" ContentType="application/vnd.openxmlformats-officedocument.theme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3.xml" ContentType="application/vnd.openxmlformats-officedocument.theme+xml"/>
  <Override PartName="/ppt/theme/theme4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custom.xml" ContentType="application/vnd.openxmlformats-officedocument.custom-propertie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768" r:id="rId2"/>
    <p:sldMasterId id="2147483739" r:id="rId3"/>
    <p:sldMasterId id="2147483793" r:id="rId4"/>
  </p:sldMasterIdLst>
  <p:notesMasterIdLst>
    <p:notesMasterId r:id="rId7"/>
  </p:notesMasterIdLst>
  <p:handoutMasterIdLst>
    <p:handoutMasterId r:id="rId8"/>
  </p:handoutMasterIdLst>
  <p:sldIdLst>
    <p:sldId id="5184" r:id="rId5"/>
    <p:sldId id="5185" r:id="rId6"/>
  </p:sldIdLst>
  <p:sldSz cx="9144000" cy="5143500" type="screen16x9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760" userDrawn="1">
          <p15:clr>
            <a:srgbClr val="A4A3A4"/>
          </p15:clr>
        </p15:guide>
        <p15:guide id="3" orient="horz" pos="17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" clrIdx="1"/>
  <p:cmAuthor id="3" name="Liliane Meijnen" initials="LM" lastIdx="19" clrIdx="2">
    <p:extLst>
      <p:ext uri="{19B8F6BF-5375-455C-9EA6-DF929625EA0E}">
        <p15:presenceInfo xmlns:p15="http://schemas.microsoft.com/office/powerpoint/2012/main" userId="Liliane Meijn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2E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83B700-F96D-7148-88B8-431A8BD99835}" v="32" dt="2021-09-14T14:28:53.199"/>
  </p1510:revLst>
</p1510:revInfo>
</file>

<file path=ppt/tableStyles.xml><?xml version="1.0" encoding="utf-8"?>
<a:tblStyleLst xmlns:a="http://schemas.openxmlformats.org/drawingml/2006/main" def="{BFEA419B-BCDB-4C27-8AB2-1E94C2BD932B}">
  <a:tblStyle styleId="{BFEA419B-BCDB-4C27-8AB2-1E94C2BD932B}" styleName="Elsevier light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0" cmpd="sng">
              <a:solidFill>
                <a:schemeClr val="lt1"/>
              </a:solidFill>
            </a:ln>
          </a:top>
          <a:bottom>
            <a:ln w="12700" cmpd="sng">
              <a:solidFill>
                <a:srgbClr val="DCDCDD"/>
              </a:solidFill>
            </a:ln>
          </a:bottom>
          <a:insideH>
            <a:ln w="12700" cmpd="sng">
              <a:solidFill>
                <a:srgbClr val="DCDCDD"/>
              </a:solidFill>
            </a:ln>
          </a:insideH>
          <a:insideV>
            <a:ln w="0" cmpd="sng">
              <a:solidFill>
                <a:schemeClr val="dk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27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bottom>
            <a:ln w="12700" cmpd="sng">
              <a:solidFill>
                <a:srgbClr val="FF6C00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BFEA419B-BCDB-4C27-8AB2-1E94C2BD932C}" styleName="Elsevier dark">
    <a:wholeTbl>
      <a:tcTxStyle>
        <a:fontRef idx="minor">
          <a:prstClr val="white"/>
        </a:fontRef>
        <a:schemeClr val="lt1"/>
      </a:tcTxStyle>
      <a:tcStyle>
        <a:tcBdr>
          <a:left>
            <a:ln w="0" cmpd="sng">
              <a:solidFill>
                <a:srgbClr val="2E2E2E"/>
              </a:solidFill>
            </a:ln>
          </a:left>
          <a:right>
            <a:ln w="0" cmpd="sng">
              <a:solidFill>
                <a:srgbClr val="2E2E2E"/>
              </a:solidFill>
            </a:ln>
          </a:right>
          <a:top>
            <a:ln w="0" cmpd="sng">
              <a:solidFill>
                <a:srgbClr val="2E2E2E"/>
              </a:solidFill>
            </a:ln>
          </a:top>
          <a:bottom>
            <a:ln w="12700" cmpd="sng">
              <a:solidFill>
                <a:srgbClr val="DCDCDD"/>
              </a:solidFill>
            </a:ln>
          </a:bottom>
          <a:insideH>
            <a:ln w="12700" cmpd="sng">
              <a:solidFill>
                <a:srgbClr val="DCDCDD"/>
              </a:solidFill>
            </a:ln>
          </a:insideH>
          <a:insideV>
            <a:ln w="0" cmpd="sng">
              <a:solidFill>
                <a:schemeClr val="dk1"/>
              </a:solidFill>
            </a:ln>
          </a:insideV>
        </a:tcBdr>
        <a:fill>
          <a:solidFill>
            <a:srgbClr val="2E2E2E"/>
          </a:solidFill>
        </a:fill>
      </a:tcStyle>
    </a:wholeTbl>
    <a:band1H>
      <a:tcStyle>
        <a:tcBdr/>
        <a:fill>
          <a:solidFill>
            <a:srgbClr val="2E2E2E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53565A"/>
          </a:solidFill>
        </a:fill>
      </a:tcStyle>
    </a:band1V>
    <a:band2V>
      <a:tcStyle>
        <a:tcBdr/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rgbClr val="3C3C3C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rgbClr val="3C3C3C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>
          <a:top>
            <a:ln w="12700" cmpd="sng">
              <a:solidFill>
                <a:srgbClr val="2E2E2E"/>
              </a:solidFill>
            </a:ln>
          </a:top>
        </a:tcBdr>
        <a:fill>
          <a:solidFill>
            <a:srgbClr val="3C3C3C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>
          <a:bottom>
            <a:ln w="12700" cmpd="sng">
              <a:solidFill>
                <a:srgbClr val="FF6C00"/>
              </a:solidFill>
            </a:ln>
          </a:bottom>
        </a:tcBdr>
        <a:fill>
          <a:solidFill>
            <a:srgbClr val="2E2E2E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2272"/>
  </p:normalViewPr>
  <p:slideViewPr>
    <p:cSldViewPr snapToGrid="0" showGuides="1">
      <p:cViewPr varScale="1">
        <p:scale>
          <a:sx n="133" d="100"/>
          <a:sy n="133" d="100"/>
        </p:scale>
        <p:origin x="126" y="774"/>
      </p:cViewPr>
      <p:guideLst>
        <p:guide pos="5760"/>
        <p:guide orient="horz" pos="17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00" d="100"/>
        <a:sy n="100" d="100"/>
      </p:scale>
      <p:origin x="0" y="-15230"/>
    </p:cViewPr>
  </p:sorterViewPr>
  <p:notesViewPr>
    <p:cSldViewPr snapToGrid="0">
      <p:cViewPr varScale="1">
        <p:scale>
          <a:sx n="69" d="100"/>
          <a:sy n="69" d="100"/>
        </p:scale>
        <p:origin x="2851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18" Type="http://schemas.openxmlformats.org/officeDocument/2006/relationships/customXml" Target="../customXml/item3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17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16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1015F8B-7E30-4951-B87C-4D51604AFF41}" type="doc">
      <dgm:prSet loTypeId="urn:microsoft.com/office/officeart/2005/8/layout/target1" loCatId="relationship" qsTypeId="urn:microsoft.com/office/officeart/2005/8/quickstyle/simple1" qsCatId="simple" csTypeId="urn:microsoft.com/office/officeart/2005/8/colors/colorful3" csCatId="colorful" phldr="1"/>
      <dgm:spPr/>
    </dgm:pt>
    <dgm:pt modelId="{FE33C6EE-CA0B-4869-8C25-0533140C2778}">
      <dgm:prSet phldrT="[Text]" custT="1"/>
      <dgm:spPr/>
      <dgm:t>
        <a:bodyPr/>
        <a:lstStyle/>
        <a:p>
          <a:r>
            <a:rPr lang="en-US" sz="1200" dirty="0"/>
            <a:t>Vital to Engage</a:t>
          </a:r>
        </a:p>
      </dgm:t>
    </dgm:pt>
    <dgm:pt modelId="{A98C9516-0658-46C3-BD4B-EFBCAF2B3534}" type="parTrans" cxnId="{DA2CCC61-02A1-4141-9493-55A554810416}">
      <dgm:prSet/>
      <dgm:spPr/>
      <dgm:t>
        <a:bodyPr/>
        <a:lstStyle/>
        <a:p>
          <a:endParaRPr lang="en-US"/>
        </a:p>
      </dgm:t>
    </dgm:pt>
    <dgm:pt modelId="{3B8D0FF5-59AB-4A9E-9D24-81A932DFE66F}" type="sibTrans" cxnId="{DA2CCC61-02A1-4141-9493-55A554810416}">
      <dgm:prSet/>
      <dgm:spPr/>
      <dgm:t>
        <a:bodyPr/>
        <a:lstStyle/>
        <a:p>
          <a:endParaRPr lang="en-US"/>
        </a:p>
      </dgm:t>
    </dgm:pt>
    <dgm:pt modelId="{628AAB72-5CB1-4D3C-98ED-1C97901AD54E}">
      <dgm:prSet phldrT="[Text]" custT="1"/>
      <dgm:spPr/>
      <dgm:t>
        <a:bodyPr/>
        <a:lstStyle/>
        <a:p>
          <a:r>
            <a:rPr lang="en-US" sz="1200" dirty="0"/>
            <a:t>Need to Engage</a:t>
          </a:r>
        </a:p>
      </dgm:t>
    </dgm:pt>
    <dgm:pt modelId="{9B6AC000-AE83-4045-877D-167CBA92F159}" type="parTrans" cxnId="{D0664A82-6929-4EB5-B550-4B0533E17EBE}">
      <dgm:prSet/>
      <dgm:spPr/>
      <dgm:t>
        <a:bodyPr/>
        <a:lstStyle/>
        <a:p>
          <a:endParaRPr lang="en-US"/>
        </a:p>
      </dgm:t>
    </dgm:pt>
    <dgm:pt modelId="{F7C04B67-AB15-44D4-AEE4-4927473C38A5}" type="sibTrans" cxnId="{D0664A82-6929-4EB5-B550-4B0533E17EBE}">
      <dgm:prSet/>
      <dgm:spPr/>
      <dgm:t>
        <a:bodyPr/>
        <a:lstStyle/>
        <a:p>
          <a:endParaRPr lang="en-US"/>
        </a:p>
      </dgm:t>
    </dgm:pt>
    <dgm:pt modelId="{8EAFE195-8327-4146-94A5-90036BE939CD}">
      <dgm:prSet phldrT="[Text]" custT="1"/>
      <dgm:spPr/>
      <dgm:t>
        <a:bodyPr/>
        <a:lstStyle/>
        <a:p>
          <a:r>
            <a:rPr lang="en-US" sz="1200" dirty="0"/>
            <a:t>Good to engage</a:t>
          </a:r>
        </a:p>
      </dgm:t>
    </dgm:pt>
    <dgm:pt modelId="{FBC60F0B-AA6C-4D60-A215-AAC6D50D2BC9}" type="parTrans" cxnId="{5C0E11F7-57D0-46FF-92E5-38907CC83E73}">
      <dgm:prSet/>
      <dgm:spPr/>
      <dgm:t>
        <a:bodyPr/>
        <a:lstStyle/>
        <a:p>
          <a:endParaRPr lang="en-US"/>
        </a:p>
      </dgm:t>
    </dgm:pt>
    <dgm:pt modelId="{26D6B407-69E7-49D8-A098-12C33126C216}" type="sibTrans" cxnId="{5C0E11F7-57D0-46FF-92E5-38907CC83E73}">
      <dgm:prSet/>
      <dgm:spPr/>
      <dgm:t>
        <a:bodyPr/>
        <a:lstStyle/>
        <a:p>
          <a:endParaRPr lang="en-US"/>
        </a:p>
      </dgm:t>
    </dgm:pt>
    <dgm:pt modelId="{7B0FB7B5-DE12-4EE1-BF42-74EEDB4919A7}">
      <dgm:prSet phldrT="[Text]" custT="1"/>
      <dgm:spPr/>
      <dgm:t>
        <a:bodyPr/>
        <a:lstStyle/>
        <a:p>
          <a:r>
            <a:rPr lang="en-US" sz="1200" dirty="0"/>
            <a:t>Courtesy to inform</a:t>
          </a:r>
        </a:p>
      </dgm:t>
    </dgm:pt>
    <dgm:pt modelId="{4E08451A-42D7-44E3-B615-D31D5F893EDB}" type="parTrans" cxnId="{72698793-AD6B-431D-92D1-4D72DFE79118}">
      <dgm:prSet/>
      <dgm:spPr/>
      <dgm:t>
        <a:bodyPr/>
        <a:lstStyle/>
        <a:p>
          <a:endParaRPr lang="en-US"/>
        </a:p>
      </dgm:t>
    </dgm:pt>
    <dgm:pt modelId="{508A2F1E-E6BE-4290-BEAE-BCE6B8B9AE20}" type="sibTrans" cxnId="{72698793-AD6B-431D-92D1-4D72DFE79118}">
      <dgm:prSet/>
      <dgm:spPr/>
      <dgm:t>
        <a:bodyPr/>
        <a:lstStyle/>
        <a:p>
          <a:endParaRPr lang="en-US"/>
        </a:p>
      </dgm:t>
    </dgm:pt>
    <dgm:pt modelId="{F76ADFF8-1177-403B-9C0A-E6864C4E0920}" type="pres">
      <dgm:prSet presAssocID="{31015F8B-7E30-4951-B87C-4D51604AFF41}" presName="composite" presStyleCnt="0">
        <dgm:presLayoutVars>
          <dgm:chMax val="5"/>
          <dgm:dir/>
          <dgm:resizeHandles val="exact"/>
        </dgm:presLayoutVars>
      </dgm:prSet>
      <dgm:spPr/>
    </dgm:pt>
    <dgm:pt modelId="{2D3EA218-76A4-4925-BF1C-1732F840D62F}" type="pres">
      <dgm:prSet presAssocID="{FE33C6EE-CA0B-4869-8C25-0533140C2778}" presName="circle1" presStyleLbl="lnNode1" presStyleIdx="0" presStyleCnt="4"/>
      <dgm:spPr/>
    </dgm:pt>
    <dgm:pt modelId="{FB2F2DB2-49A2-41B2-9C72-F6A03475CC0D}" type="pres">
      <dgm:prSet presAssocID="{FE33C6EE-CA0B-4869-8C25-0533140C2778}" presName="text1" presStyleLbl="revTx" presStyleIdx="0" presStyleCnt="4">
        <dgm:presLayoutVars>
          <dgm:bulletEnabled val="1"/>
        </dgm:presLayoutVars>
      </dgm:prSet>
      <dgm:spPr/>
    </dgm:pt>
    <dgm:pt modelId="{EBEFB7C8-CC35-45FA-BDFB-DBB37FF927B5}" type="pres">
      <dgm:prSet presAssocID="{FE33C6EE-CA0B-4869-8C25-0533140C2778}" presName="line1" presStyleLbl="callout" presStyleIdx="0" presStyleCnt="8"/>
      <dgm:spPr/>
    </dgm:pt>
    <dgm:pt modelId="{DECC8A0B-2446-411D-B085-EB9317679B7C}" type="pres">
      <dgm:prSet presAssocID="{FE33C6EE-CA0B-4869-8C25-0533140C2778}" presName="d1" presStyleLbl="callout" presStyleIdx="1" presStyleCnt="8"/>
      <dgm:spPr/>
    </dgm:pt>
    <dgm:pt modelId="{04328492-6FD7-4588-9903-74AB926DC22A}" type="pres">
      <dgm:prSet presAssocID="{628AAB72-5CB1-4D3C-98ED-1C97901AD54E}" presName="circle2" presStyleLbl="lnNode1" presStyleIdx="1" presStyleCnt="4"/>
      <dgm:spPr/>
    </dgm:pt>
    <dgm:pt modelId="{D61B5A4C-0C95-40F0-AD6D-3FFFAF5E4128}" type="pres">
      <dgm:prSet presAssocID="{628AAB72-5CB1-4D3C-98ED-1C97901AD54E}" presName="text2" presStyleLbl="revTx" presStyleIdx="1" presStyleCnt="4">
        <dgm:presLayoutVars>
          <dgm:bulletEnabled val="1"/>
        </dgm:presLayoutVars>
      </dgm:prSet>
      <dgm:spPr/>
    </dgm:pt>
    <dgm:pt modelId="{E8C2D934-8ADD-4C00-A1E1-BE12981C1FBA}" type="pres">
      <dgm:prSet presAssocID="{628AAB72-5CB1-4D3C-98ED-1C97901AD54E}" presName="line2" presStyleLbl="callout" presStyleIdx="2" presStyleCnt="8"/>
      <dgm:spPr/>
    </dgm:pt>
    <dgm:pt modelId="{FA0B3B16-CA68-4C7C-AAA5-9C9ACD7C0ED0}" type="pres">
      <dgm:prSet presAssocID="{628AAB72-5CB1-4D3C-98ED-1C97901AD54E}" presName="d2" presStyleLbl="callout" presStyleIdx="3" presStyleCnt="8"/>
      <dgm:spPr/>
    </dgm:pt>
    <dgm:pt modelId="{EAB493BD-72DD-4DC5-AF3F-3E55AD33076A}" type="pres">
      <dgm:prSet presAssocID="{8EAFE195-8327-4146-94A5-90036BE939CD}" presName="circle3" presStyleLbl="lnNode1" presStyleIdx="2" presStyleCnt="4"/>
      <dgm:spPr/>
    </dgm:pt>
    <dgm:pt modelId="{1F1D31B2-8D30-44C4-BAFA-6A9B7A1258F9}" type="pres">
      <dgm:prSet presAssocID="{8EAFE195-8327-4146-94A5-90036BE939CD}" presName="text3" presStyleLbl="revTx" presStyleIdx="2" presStyleCnt="4">
        <dgm:presLayoutVars>
          <dgm:bulletEnabled val="1"/>
        </dgm:presLayoutVars>
      </dgm:prSet>
      <dgm:spPr/>
    </dgm:pt>
    <dgm:pt modelId="{AB050DBF-000F-4E4E-833B-CE93C5095439}" type="pres">
      <dgm:prSet presAssocID="{8EAFE195-8327-4146-94A5-90036BE939CD}" presName="line3" presStyleLbl="callout" presStyleIdx="4" presStyleCnt="8"/>
      <dgm:spPr/>
    </dgm:pt>
    <dgm:pt modelId="{30A004B3-E4C5-4448-A3D6-C485B86517BC}" type="pres">
      <dgm:prSet presAssocID="{8EAFE195-8327-4146-94A5-90036BE939CD}" presName="d3" presStyleLbl="callout" presStyleIdx="5" presStyleCnt="8"/>
      <dgm:spPr/>
    </dgm:pt>
    <dgm:pt modelId="{89840273-FAD8-40E5-BF69-CAF346BDFFB3}" type="pres">
      <dgm:prSet presAssocID="{7B0FB7B5-DE12-4EE1-BF42-74EEDB4919A7}" presName="circle4" presStyleLbl="lnNode1" presStyleIdx="3" presStyleCnt="4"/>
      <dgm:spPr/>
    </dgm:pt>
    <dgm:pt modelId="{7255612B-F3B0-42FF-AE37-6D1BCF5C71DE}" type="pres">
      <dgm:prSet presAssocID="{7B0FB7B5-DE12-4EE1-BF42-74EEDB4919A7}" presName="text4" presStyleLbl="revTx" presStyleIdx="3" presStyleCnt="4">
        <dgm:presLayoutVars>
          <dgm:bulletEnabled val="1"/>
        </dgm:presLayoutVars>
      </dgm:prSet>
      <dgm:spPr/>
    </dgm:pt>
    <dgm:pt modelId="{7E0814E5-28E0-4F1F-9DC2-63D230BC1BF1}" type="pres">
      <dgm:prSet presAssocID="{7B0FB7B5-DE12-4EE1-BF42-74EEDB4919A7}" presName="line4" presStyleLbl="callout" presStyleIdx="6" presStyleCnt="8"/>
      <dgm:spPr/>
    </dgm:pt>
    <dgm:pt modelId="{A7BB1C6D-0BC1-4B40-B6ED-A22AC323F58D}" type="pres">
      <dgm:prSet presAssocID="{7B0FB7B5-DE12-4EE1-BF42-74EEDB4919A7}" presName="d4" presStyleLbl="callout" presStyleIdx="7" presStyleCnt="8"/>
      <dgm:spPr/>
    </dgm:pt>
  </dgm:ptLst>
  <dgm:cxnLst>
    <dgm:cxn modelId="{DA2CCC61-02A1-4141-9493-55A554810416}" srcId="{31015F8B-7E30-4951-B87C-4D51604AFF41}" destId="{FE33C6EE-CA0B-4869-8C25-0533140C2778}" srcOrd="0" destOrd="0" parTransId="{A98C9516-0658-46C3-BD4B-EFBCAF2B3534}" sibTransId="{3B8D0FF5-59AB-4A9E-9D24-81A932DFE66F}"/>
    <dgm:cxn modelId="{D0664A82-6929-4EB5-B550-4B0533E17EBE}" srcId="{31015F8B-7E30-4951-B87C-4D51604AFF41}" destId="{628AAB72-5CB1-4D3C-98ED-1C97901AD54E}" srcOrd="1" destOrd="0" parTransId="{9B6AC000-AE83-4045-877D-167CBA92F159}" sibTransId="{F7C04B67-AB15-44D4-AEE4-4927473C38A5}"/>
    <dgm:cxn modelId="{72698793-AD6B-431D-92D1-4D72DFE79118}" srcId="{31015F8B-7E30-4951-B87C-4D51604AFF41}" destId="{7B0FB7B5-DE12-4EE1-BF42-74EEDB4919A7}" srcOrd="3" destOrd="0" parTransId="{4E08451A-42D7-44E3-B615-D31D5F893EDB}" sibTransId="{508A2F1E-E6BE-4290-BEAE-BCE6B8B9AE20}"/>
    <dgm:cxn modelId="{0B73B197-007B-4968-83E2-12A972225AD4}" type="presOf" srcId="{31015F8B-7E30-4951-B87C-4D51604AFF41}" destId="{F76ADFF8-1177-403B-9C0A-E6864C4E0920}" srcOrd="0" destOrd="0" presId="urn:microsoft.com/office/officeart/2005/8/layout/target1"/>
    <dgm:cxn modelId="{6E59C0AC-0965-47AB-93C1-B5D8B1349F86}" type="presOf" srcId="{628AAB72-5CB1-4D3C-98ED-1C97901AD54E}" destId="{D61B5A4C-0C95-40F0-AD6D-3FFFAF5E4128}" srcOrd="0" destOrd="0" presId="urn:microsoft.com/office/officeart/2005/8/layout/target1"/>
    <dgm:cxn modelId="{A61B52C0-907E-43FB-98EE-657F29ABC817}" type="presOf" srcId="{8EAFE195-8327-4146-94A5-90036BE939CD}" destId="{1F1D31B2-8D30-44C4-BAFA-6A9B7A1258F9}" srcOrd="0" destOrd="0" presId="urn:microsoft.com/office/officeart/2005/8/layout/target1"/>
    <dgm:cxn modelId="{203C96D5-8194-44C9-B396-57F1FC7DEF18}" type="presOf" srcId="{7B0FB7B5-DE12-4EE1-BF42-74EEDB4919A7}" destId="{7255612B-F3B0-42FF-AE37-6D1BCF5C71DE}" srcOrd="0" destOrd="0" presId="urn:microsoft.com/office/officeart/2005/8/layout/target1"/>
    <dgm:cxn modelId="{64634DD8-3223-4D87-9062-04B448137FDD}" type="presOf" srcId="{FE33C6EE-CA0B-4869-8C25-0533140C2778}" destId="{FB2F2DB2-49A2-41B2-9C72-F6A03475CC0D}" srcOrd="0" destOrd="0" presId="urn:microsoft.com/office/officeart/2005/8/layout/target1"/>
    <dgm:cxn modelId="{5C0E11F7-57D0-46FF-92E5-38907CC83E73}" srcId="{31015F8B-7E30-4951-B87C-4D51604AFF41}" destId="{8EAFE195-8327-4146-94A5-90036BE939CD}" srcOrd="2" destOrd="0" parTransId="{FBC60F0B-AA6C-4D60-A215-AAC6D50D2BC9}" sibTransId="{26D6B407-69E7-49D8-A098-12C33126C216}"/>
    <dgm:cxn modelId="{CF1375C0-917C-421A-AE66-68F1E0F24AAF}" type="presParOf" srcId="{F76ADFF8-1177-403B-9C0A-E6864C4E0920}" destId="{2D3EA218-76A4-4925-BF1C-1732F840D62F}" srcOrd="0" destOrd="0" presId="urn:microsoft.com/office/officeart/2005/8/layout/target1"/>
    <dgm:cxn modelId="{57969273-663D-422A-83CF-3F05E716EBEF}" type="presParOf" srcId="{F76ADFF8-1177-403B-9C0A-E6864C4E0920}" destId="{FB2F2DB2-49A2-41B2-9C72-F6A03475CC0D}" srcOrd="1" destOrd="0" presId="urn:microsoft.com/office/officeart/2005/8/layout/target1"/>
    <dgm:cxn modelId="{18E6B77C-A004-49A6-A935-20A3AA4D2CB7}" type="presParOf" srcId="{F76ADFF8-1177-403B-9C0A-E6864C4E0920}" destId="{EBEFB7C8-CC35-45FA-BDFB-DBB37FF927B5}" srcOrd="2" destOrd="0" presId="urn:microsoft.com/office/officeart/2005/8/layout/target1"/>
    <dgm:cxn modelId="{0628D4CB-8D43-419B-AC65-25D19CCA2228}" type="presParOf" srcId="{F76ADFF8-1177-403B-9C0A-E6864C4E0920}" destId="{DECC8A0B-2446-411D-B085-EB9317679B7C}" srcOrd="3" destOrd="0" presId="urn:microsoft.com/office/officeart/2005/8/layout/target1"/>
    <dgm:cxn modelId="{F5FD22AA-27F1-47BA-839B-704DFE5AEC9F}" type="presParOf" srcId="{F76ADFF8-1177-403B-9C0A-E6864C4E0920}" destId="{04328492-6FD7-4588-9903-74AB926DC22A}" srcOrd="4" destOrd="0" presId="urn:microsoft.com/office/officeart/2005/8/layout/target1"/>
    <dgm:cxn modelId="{2BA5F884-DC35-44E9-AFC2-67AF0579A6F6}" type="presParOf" srcId="{F76ADFF8-1177-403B-9C0A-E6864C4E0920}" destId="{D61B5A4C-0C95-40F0-AD6D-3FFFAF5E4128}" srcOrd="5" destOrd="0" presId="urn:microsoft.com/office/officeart/2005/8/layout/target1"/>
    <dgm:cxn modelId="{1771C8EF-D2A2-42FB-946A-DCE50D2F10A0}" type="presParOf" srcId="{F76ADFF8-1177-403B-9C0A-E6864C4E0920}" destId="{E8C2D934-8ADD-4C00-A1E1-BE12981C1FBA}" srcOrd="6" destOrd="0" presId="urn:microsoft.com/office/officeart/2005/8/layout/target1"/>
    <dgm:cxn modelId="{0A98E0EC-2D7A-4042-998B-C0ED2DE36B0C}" type="presParOf" srcId="{F76ADFF8-1177-403B-9C0A-E6864C4E0920}" destId="{FA0B3B16-CA68-4C7C-AAA5-9C9ACD7C0ED0}" srcOrd="7" destOrd="0" presId="urn:microsoft.com/office/officeart/2005/8/layout/target1"/>
    <dgm:cxn modelId="{EE837CCE-F78D-4762-BCDA-5C04E7379795}" type="presParOf" srcId="{F76ADFF8-1177-403B-9C0A-E6864C4E0920}" destId="{EAB493BD-72DD-4DC5-AF3F-3E55AD33076A}" srcOrd="8" destOrd="0" presId="urn:microsoft.com/office/officeart/2005/8/layout/target1"/>
    <dgm:cxn modelId="{7963EA21-8AFE-4D5A-BEB1-2F08D6DDCF96}" type="presParOf" srcId="{F76ADFF8-1177-403B-9C0A-E6864C4E0920}" destId="{1F1D31B2-8D30-44C4-BAFA-6A9B7A1258F9}" srcOrd="9" destOrd="0" presId="urn:microsoft.com/office/officeart/2005/8/layout/target1"/>
    <dgm:cxn modelId="{449F2367-3F02-491E-8B7C-1E4291A8D0E0}" type="presParOf" srcId="{F76ADFF8-1177-403B-9C0A-E6864C4E0920}" destId="{AB050DBF-000F-4E4E-833B-CE93C5095439}" srcOrd="10" destOrd="0" presId="urn:microsoft.com/office/officeart/2005/8/layout/target1"/>
    <dgm:cxn modelId="{E99BEC82-AC68-4C6A-90C3-CB0E4547704C}" type="presParOf" srcId="{F76ADFF8-1177-403B-9C0A-E6864C4E0920}" destId="{30A004B3-E4C5-4448-A3D6-C485B86517BC}" srcOrd="11" destOrd="0" presId="urn:microsoft.com/office/officeart/2005/8/layout/target1"/>
    <dgm:cxn modelId="{06B3D3B1-AD14-4248-9B85-1D14E54E0024}" type="presParOf" srcId="{F76ADFF8-1177-403B-9C0A-E6864C4E0920}" destId="{89840273-FAD8-40E5-BF69-CAF346BDFFB3}" srcOrd="12" destOrd="0" presId="urn:microsoft.com/office/officeart/2005/8/layout/target1"/>
    <dgm:cxn modelId="{EBC6DE8A-EAAF-4B3C-8772-DF52C6693C54}" type="presParOf" srcId="{F76ADFF8-1177-403B-9C0A-E6864C4E0920}" destId="{7255612B-F3B0-42FF-AE37-6D1BCF5C71DE}" srcOrd="13" destOrd="0" presId="urn:microsoft.com/office/officeart/2005/8/layout/target1"/>
    <dgm:cxn modelId="{820C7BB8-D7AC-4DE3-9463-2AA1DEA66812}" type="presParOf" srcId="{F76ADFF8-1177-403B-9C0A-E6864C4E0920}" destId="{7E0814E5-28E0-4F1F-9DC2-63D230BC1BF1}" srcOrd="14" destOrd="0" presId="urn:microsoft.com/office/officeart/2005/8/layout/target1"/>
    <dgm:cxn modelId="{573BD5B1-9F11-4044-B2BD-1D333C64A966}" type="presParOf" srcId="{F76ADFF8-1177-403B-9C0A-E6864C4E0920}" destId="{A7BB1C6D-0BC1-4B40-B6ED-A22AC323F58D}" srcOrd="15" destOrd="0" presId="urn:microsoft.com/office/officeart/2005/8/layout/targe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9840273-FAD8-40E5-BF69-CAF346BDFFB3}">
      <dsp:nvSpPr>
        <dsp:cNvPr id="0" name=""/>
        <dsp:cNvSpPr/>
      </dsp:nvSpPr>
      <dsp:spPr>
        <a:xfrm>
          <a:off x="508000" y="1015999"/>
          <a:ext cx="3048000" cy="3048000"/>
        </a:xfrm>
        <a:prstGeom prst="ellipse">
          <a:avLst/>
        </a:prstGeom>
        <a:solidFill>
          <a:schemeClr val="accent3">
            <a:hueOff val="12744047"/>
            <a:satOff val="100000"/>
            <a:lumOff val="3451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AB493BD-72DD-4DC5-AF3F-3E55AD33076A}">
      <dsp:nvSpPr>
        <dsp:cNvPr id="0" name=""/>
        <dsp:cNvSpPr/>
      </dsp:nvSpPr>
      <dsp:spPr>
        <a:xfrm>
          <a:off x="943610" y="1451610"/>
          <a:ext cx="2176780" cy="2176780"/>
        </a:xfrm>
        <a:prstGeom prst="ellipse">
          <a:avLst/>
        </a:prstGeom>
        <a:solidFill>
          <a:schemeClr val="accent3">
            <a:hueOff val="8496031"/>
            <a:satOff val="66667"/>
            <a:lumOff val="2300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4328492-6FD7-4588-9903-74AB926DC22A}">
      <dsp:nvSpPr>
        <dsp:cNvPr id="0" name=""/>
        <dsp:cNvSpPr/>
      </dsp:nvSpPr>
      <dsp:spPr>
        <a:xfrm>
          <a:off x="1378966" y="1886966"/>
          <a:ext cx="1306067" cy="1306067"/>
        </a:xfrm>
        <a:prstGeom prst="ellipse">
          <a:avLst/>
        </a:prstGeom>
        <a:solidFill>
          <a:schemeClr val="accent3">
            <a:hueOff val="4248016"/>
            <a:satOff val="33333"/>
            <a:lumOff val="1150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3EA218-76A4-4925-BF1C-1732F840D62F}">
      <dsp:nvSpPr>
        <dsp:cNvPr id="0" name=""/>
        <dsp:cNvSpPr/>
      </dsp:nvSpPr>
      <dsp:spPr>
        <a:xfrm>
          <a:off x="1814322" y="2322321"/>
          <a:ext cx="435356" cy="435356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2F2DB2-49A2-41B2-9C72-F6A03475CC0D}">
      <dsp:nvSpPr>
        <dsp:cNvPr id="0" name=""/>
        <dsp:cNvSpPr/>
      </dsp:nvSpPr>
      <dsp:spPr>
        <a:xfrm>
          <a:off x="4064000" y="0"/>
          <a:ext cx="1524000" cy="728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15240" rIns="15240" bIns="152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Vital to Engage</a:t>
          </a:r>
        </a:p>
      </dsp:txBody>
      <dsp:txXfrm>
        <a:off x="4064000" y="0"/>
        <a:ext cx="1524000" cy="728980"/>
      </dsp:txXfrm>
    </dsp:sp>
    <dsp:sp modelId="{EBEFB7C8-CC35-45FA-BDFB-DBB37FF927B5}">
      <dsp:nvSpPr>
        <dsp:cNvPr id="0" name=""/>
        <dsp:cNvSpPr/>
      </dsp:nvSpPr>
      <dsp:spPr>
        <a:xfrm>
          <a:off x="3683000" y="364489"/>
          <a:ext cx="381000" cy="0"/>
        </a:xfrm>
        <a:prstGeom prst="lin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ECC8A0B-2446-411D-B085-EB9317679B7C}">
      <dsp:nvSpPr>
        <dsp:cNvPr id="0" name=""/>
        <dsp:cNvSpPr/>
      </dsp:nvSpPr>
      <dsp:spPr>
        <a:xfrm rot="5400000">
          <a:off x="1767840" y="604519"/>
          <a:ext cx="2153920" cy="1676400"/>
        </a:xfrm>
        <a:prstGeom prst="lin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61B5A4C-0C95-40F0-AD6D-3FFFAF5E4128}">
      <dsp:nvSpPr>
        <dsp:cNvPr id="0" name=""/>
        <dsp:cNvSpPr/>
      </dsp:nvSpPr>
      <dsp:spPr>
        <a:xfrm>
          <a:off x="4064000" y="728979"/>
          <a:ext cx="1524000" cy="728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15240" rIns="15240" bIns="152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Need to Engage</a:t>
          </a:r>
        </a:p>
      </dsp:txBody>
      <dsp:txXfrm>
        <a:off x="4064000" y="728979"/>
        <a:ext cx="1524000" cy="728980"/>
      </dsp:txXfrm>
    </dsp:sp>
    <dsp:sp modelId="{E8C2D934-8ADD-4C00-A1E1-BE12981C1FBA}">
      <dsp:nvSpPr>
        <dsp:cNvPr id="0" name=""/>
        <dsp:cNvSpPr/>
      </dsp:nvSpPr>
      <dsp:spPr>
        <a:xfrm>
          <a:off x="3683000" y="1093469"/>
          <a:ext cx="381000" cy="0"/>
        </a:xfrm>
        <a:prstGeom prst="lin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A0B3B16-CA68-4C7C-AAA5-9C9ACD7C0ED0}">
      <dsp:nvSpPr>
        <dsp:cNvPr id="0" name=""/>
        <dsp:cNvSpPr/>
      </dsp:nvSpPr>
      <dsp:spPr>
        <a:xfrm rot="5400000">
          <a:off x="2140712" y="1321561"/>
          <a:ext cx="1768856" cy="1313180"/>
        </a:xfrm>
        <a:prstGeom prst="lin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F1D31B2-8D30-44C4-BAFA-6A9B7A1258F9}">
      <dsp:nvSpPr>
        <dsp:cNvPr id="0" name=""/>
        <dsp:cNvSpPr/>
      </dsp:nvSpPr>
      <dsp:spPr>
        <a:xfrm>
          <a:off x="4064000" y="1457959"/>
          <a:ext cx="1524000" cy="728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15240" rIns="15240" bIns="152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Good to engage</a:t>
          </a:r>
        </a:p>
      </dsp:txBody>
      <dsp:txXfrm>
        <a:off x="4064000" y="1457959"/>
        <a:ext cx="1524000" cy="728980"/>
      </dsp:txXfrm>
    </dsp:sp>
    <dsp:sp modelId="{AB050DBF-000F-4E4E-833B-CE93C5095439}">
      <dsp:nvSpPr>
        <dsp:cNvPr id="0" name=""/>
        <dsp:cNvSpPr/>
      </dsp:nvSpPr>
      <dsp:spPr>
        <a:xfrm>
          <a:off x="3683000" y="1822449"/>
          <a:ext cx="381000" cy="0"/>
        </a:xfrm>
        <a:prstGeom prst="lin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0A004B3-E4C5-4448-A3D6-C485B86517BC}">
      <dsp:nvSpPr>
        <dsp:cNvPr id="0" name=""/>
        <dsp:cNvSpPr/>
      </dsp:nvSpPr>
      <dsp:spPr>
        <a:xfrm rot="5400000">
          <a:off x="2501646" y="1989835"/>
          <a:ext cx="1349248" cy="1013460"/>
        </a:xfrm>
        <a:prstGeom prst="lin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255612B-F3B0-42FF-AE37-6D1BCF5C71DE}">
      <dsp:nvSpPr>
        <dsp:cNvPr id="0" name=""/>
        <dsp:cNvSpPr/>
      </dsp:nvSpPr>
      <dsp:spPr>
        <a:xfrm>
          <a:off x="4064000" y="2186939"/>
          <a:ext cx="1524000" cy="728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15240" rIns="15240" bIns="152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ourtesy to inform</a:t>
          </a:r>
        </a:p>
      </dsp:txBody>
      <dsp:txXfrm>
        <a:off x="4064000" y="2186939"/>
        <a:ext cx="1524000" cy="728980"/>
      </dsp:txXfrm>
    </dsp:sp>
    <dsp:sp modelId="{7E0814E5-28E0-4F1F-9DC2-63D230BC1BF1}">
      <dsp:nvSpPr>
        <dsp:cNvPr id="0" name=""/>
        <dsp:cNvSpPr/>
      </dsp:nvSpPr>
      <dsp:spPr>
        <a:xfrm>
          <a:off x="3683000" y="2551429"/>
          <a:ext cx="381000" cy="0"/>
        </a:xfrm>
        <a:prstGeom prst="lin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BB1C6D-0BC1-4B40-B6ED-A22AC323F58D}">
      <dsp:nvSpPr>
        <dsp:cNvPr id="0" name=""/>
        <dsp:cNvSpPr/>
      </dsp:nvSpPr>
      <dsp:spPr>
        <a:xfrm rot="5400000">
          <a:off x="2863443" y="2660751"/>
          <a:ext cx="927404" cy="708152"/>
        </a:xfrm>
        <a:prstGeom prst="lin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target1">
  <dgm:title val=""/>
  <dgm:desc val=""/>
  <dgm:catLst>
    <dgm:cat type="relationship" pri="25000"/>
    <dgm:cat type="convert" pri="2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equ" val="0">
            <dgm:constrLst/>
          </dgm:if>
          <dgm:if name="Name4" axis="ch" ptType="node" func="cnt" op="equ" val="1">
            <dgm:constrLst>
              <dgm:constr type="primFontSz" for="des" ptType="node" op="equ" val="65"/>
              <dgm:constr type="w" for="ch" forName="circle1" refType="w" fact="0.6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r" for="ch" forName="line1" refType="l" refFor="ch" refForName="text1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5"/>
              <dgm:constr type="h" for="ch" forName="d1" refType="h" fact="0.469"/>
            </dgm:constrLst>
          </dgm:if>
          <dgm:if name="Name5" axis="ch" ptType="node" func="cnt" op="equ" val="2">
            <dgm:constrLst>
              <dgm:constr type="primFontSz" for="des" ptType="node" op="equ" val="65"/>
              <dgm:constr type="w" for="ch" forName="circle1" refType="w" fact="0.2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5"/>
              <dgm:constr type="h" for="ch" forName="d1" refType="h" fact="0.469"/>
              <dgm:constr type="w" for="ch" forName="circle2" refType="w" fact="0.6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3125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44325"/>
              <dgm:constr type="b" for="ch" forName="d2" refType="h" fact="0.7975"/>
              <dgm:constr type="w" for="ch" forName="d2" refType="w" fact="0.1815"/>
              <dgm:constr type="h" for="ch" forName="d2" refType="h" fact="0.3283"/>
            </dgm:constrLst>
          </dgm:if>
          <dgm:if name="Name6" axis="ch" ptType="node" func="cnt" op="equ" val="3">
            <dgm:constrLst>
              <dgm:constr type="primFontSz" for="des" ptType="node" op="equ" val="65"/>
              <dgm:constr type="w" for="ch" forName="circle1" refType="w" fact="0.12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2187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"/>
              <dgm:constr type="h" for="ch" forName="d1" refType="h" fact="0.5155"/>
              <dgm:constr type="w" for="ch" forName="circle2" refType="w" fact="0.36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21875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86"/>
              <dgm:constr type="b" for="ch" forName="d2" refType="h" fact="0.72969"/>
              <dgm:constr type="w" for="ch" forName="d2" refType="w" fact="0.2387"/>
              <dgm:constr type="h" for="ch" forName="d2" refType="h" fact="0.4017"/>
              <dgm:constr type="w" for="ch" forName="circle3" refType="w" fact="0.6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21875"/>
              <dgm:constr type="r" for="ch" forName="text3" refType="w"/>
              <dgm:constr type="t" for="ch" forName="text3" refType="b" refFor="ch" refForName="text2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47175"/>
              <dgm:constr type="b" for="ch" forName="d3" refType="h" fact="0.83375"/>
              <dgm:constr type="w" for="ch" forName="d3" refType="w" fact="0.1527"/>
              <dgm:constr type="h" for="ch" forName="d3" refType="h" fact="0.287"/>
            </dgm:constrLst>
          </dgm:if>
          <dgm:if name="Name7" axis="ch" ptType="node" func="cnt" op="equ" val="4">
            <dgm:constrLst>
              <dgm:constr type="primFontSz" for="des" ptType="node" op="equ" val="65"/>
              <dgm:constr type="w" for="ch" forName="circle1" refType="w" fact="0.0857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17938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295"/>
              <dgm:constr type="b" for="ch" forName="d1" refType="h" fact="0.62"/>
              <dgm:constr type="w" for="ch" forName="d1" refType="w" fact="0.33"/>
              <dgm:constr type="h" for="ch" forName="d1" refType="h" fact="0.53"/>
              <dgm:constr type="w" for="ch" forName="circle2" refType="w" fact="0.2571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17938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6625"/>
              <dgm:constr type="b" for="ch" forName="d2" refType="h" fact="0.70438"/>
              <dgm:constr type="w" for="ch" forName="d2" refType="w" fact="0.2585"/>
              <dgm:constr type="h" for="ch" forName="d2" refType="h" fact="0.43525"/>
              <dgm:constr type="w" for="ch" forName="circle3" refType="w" fact="0.4285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7938"/>
              <dgm:constr type="r" for="ch" forName="text3" refType="w"/>
              <dgm:constr type="t" for="ch" forName="text3" refType="b" refFor="ch" refForName="text2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4255"/>
              <dgm:constr type="b" for="ch" forName="d3" refType="h" fact="0.78031"/>
              <dgm:constr type="w" for="ch" forName="d3" refType="w" fact="0.1995"/>
              <dgm:constr type="h" for="ch" forName="d3" refType="h" fact="0.332"/>
              <dgm:constr type="w" for="ch" forName="circle4" refType="w" fact="0.6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7938"/>
              <dgm:constr type="r" for="ch" forName="text4" refType="w"/>
              <dgm:constr type="t" for="ch" forName="text4" refType="b" refFor="ch" refForName="text3"/>
              <dgm:constr type="l" for="ch" forName="line4" refType="w" fact="0.625"/>
              <dgm:constr type="ctrY" for="ch" forName="line4" refType="ctrY" refFor="ch" refForName="text4"/>
              <dgm:constr type="w" for="ch" forName="line4" refType="w" fact="0.075"/>
              <dgm:constr type="h" for="ch" forName="line4"/>
              <dgm:constr type="l" for="ch" forName="d4" refType="w" fact="0.48525"/>
              <dgm:constr type="b" for="ch" forName="d4" refType="h" fact="0.85594"/>
              <dgm:constr type="w" for="ch" forName="d4" refType="w" fact="0.1394"/>
              <dgm:constr type="h" for="ch" forName="d4" refType="h" fact="0.2282"/>
            </dgm:constrLst>
          </dgm:if>
          <dgm:if name="Name8" axis="ch" ptType="node" func="cnt" op="gte" val="5">
            <dgm:constrLst>
              <dgm:constr type="primFontSz" for="des" ptType="node" op="equ" val="65"/>
              <dgm:constr type="w" for="ch" forName="circle1" refType="w" fact="0.0667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1324"/>
              <dgm:constr type="r" for="ch" forName="text1" refType="w"/>
              <dgm:constr type="ctrY" for="ch" forName="text1" refType="h" fact="0.13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5"/>
              <dgm:constr type="h" for="ch" forName="d1" refType="h" fact="0.495"/>
              <dgm:constr type="w" for="ch" forName="circle2" refType="w" fact="0.2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1324"/>
              <dgm:constr type="r" for="ch" forName="text2" refType="w"/>
              <dgm:constr type="ctrY" for="ch" forName="text2" refType="h" fact="0.27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498"/>
              <dgm:constr type="b" for="ch" forName="d2" refType="h" fact="0.682"/>
              <dgm:constr type="w" for="ch" forName="d2" refType="w" fact="0.275"/>
              <dgm:constr type="h" for="ch" forName="d2" refType="h" fact="0.41215"/>
              <dgm:constr type="w" for="ch" forName="circle3" refType="w" fact="0.3334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324"/>
              <dgm:constr type="r" for="ch" forName="text3" refType="w"/>
              <dgm:constr type="ctrY" for="ch" forName="text3" refType="h" fact="0.41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394"/>
              <dgm:constr type="b" for="ch" forName="d3" refType="h" fact="0.735"/>
              <dgm:constr type="w" for="ch" forName="d3" refType="w" fact="0.231"/>
              <dgm:constr type="h" for="ch" forName="d3" refType="h" fact="0.325"/>
              <dgm:constr type="w" for="ch" forName="circle4" refType="w" fact="0.4667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324"/>
              <dgm:constr type="r" for="ch" forName="text4" refType="w"/>
              <dgm:constr type="ctrY" for="ch" forName="text4" refType="h" fact="0.547"/>
              <dgm:constr type="l" for="ch" forName="line4" refType="w" fact="0.625"/>
              <dgm:constr type="ctrY" for="ch" forName="line4" refType="ctrY" refFor="ch" refForName="text4"/>
              <dgm:constr type="w" for="ch" forName="line4" refType="w" fact="0.075"/>
              <dgm:constr type="h" for="ch" forName="line4"/>
              <dgm:constr type="l" for="ch" forName="d4" refType="w" fact="0.446"/>
              <dgm:constr type="b" for="ch" forName="d4" refType="h" fact="0.795"/>
              <dgm:constr type="w" for="ch" forName="d4" refType="w" fact="0.179"/>
              <dgm:constr type="h" for="ch" forName="d4" refType="h" fact="0.248"/>
              <dgm:constr type="w" for="ch" forName="circle5" refType="w" fact="0.6"/>
              <dgm:constr type="h" for="ch" forName="circle5" refType="w" refFor="ch" refForName="circle5"/>
              <dgm:constr type="ctrX" for="ch" forName="circle5" refType="ctrX" refFor="ch" refForName="circle1"/>
              <dgm:constr type="ctrY" for="ch" forName="circle5" refType="ctrY" refFor="ch" refForName="circle1"/>
              <dgm:constr type="w" for="ch" forName="text5" refType="w" fact="0.3"/>
              <dgm:constr type="h" for="ch" forName="text5" refType="h" fact="0.1324"/>
              <dgm:constr type="r" for="ch" forName="text5" refType="w"/>
              <dgm:constr type="ctrY" for="ch" forName="text5" refType="h" fact="0.68"/>
              <dgm:constr type="l" for="ch" forName="line5" refType="w" fact="0.625"/>
              <dgm:constr type="ctrY" for="ch" forName="line5" refType="ctrY" refFor="ch" refForName="text5"/>
              <dgm:constr type="w" for="ch" forName="line5" refType="w" fact="0.075"/>
              <dgm:constr type="h" for="ch" forName="line5"/>
              <dgm:constr type="l" for="ch" forName="d5" refType="w" fact="0.495"/>
              <dgm:constr type="b" for="ch" forName="d5" refType="h" fact="0.855"/>
              <dgm:constr type="w" for="ch" forName="d5" refType="w" fact="0.13"/>
              <dgm:constr type="h" for="ch" forName="d5" refType="h" fact="0.175"/>
            </dgm:constrLst>
          </dgm:if>
          <dgm:else name="Name9"/>
        </dgm:choose>
      </dgm:if>
      <dgm:else name="Name10">
        <dgm:choose name="Name11">
          <dgm:if name="Name12" axis="ch" ptType="node" func="cnt" op="equ" val="0">
            <dgm:constrLst/>
          </dgm:if>
          <dgm:if name="Name13" axis="ch" ptType="node" func="cnt" op="equ" val="1">
            <dgm:constrLst>
              <dgm:constr type="primFontSz" for="des" ptType="node" op="equ" val="65"/>
              <dgm:constr type="w" for="ch" forName="circle1" refType="w" fact="0.6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5"/>
              <dgm:constr type="h" for="ch" forName="d1" refType="h" fact="0.469"/>
            </dgm:constrLst>
          </dgm:if>
          <dgm:if name="Name14" axis="ch" ptType="node" func="cnt" op="equ" val="2">
            <dgm:constrLst>
              <dgm:constr type="primFontSz" for="des" ptType="node" op="equ" val="65"/>
              <dgm:constr type="w" for="ch" forName="circle1" refType="w" fact="0.2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5"/>
              <dgm:constr type="h" for="ch" forName="d1" refType="h" fact="0.469"/>
              <dgm:constr type="w" for="ch" forName="circle2" refType="w" fact="0.6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3125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55675"/>
              <dgm:constr type="b" for="ch" forName="d2" refType="h" fact="0.7975"/>
              <dgm:constr type="w" for="ch" forName="d2" refType="w" fact="0.1815"/>
              <dgm:constr type="h" for="ch" forName="d2" refType="h" fact="0.3283"/>
            </dgm:constrLst>
          </dgm:if>
          <dgm:if name="Name15" axis="ch" ptType="node" func="cnt" op="equ" val="3">
            <dgm:constrLst>
              <dgm:constr type="primFontSz" for="des" ptType="node" op="equ" val="65"/>
              <dgm:constr type="w" for="ch" forName="circle1" refType="w" fact="0.12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2187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"/>
              <dgm:constr type="h" for="ch" forName="d1" refType="h" fact="0.5155"/>
              <dgm:constr type="w" for="ch" forName="circle2" refType="w" fact="0.36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21875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14"/>
              <dgm:constr type="b" for="ch" forName="d2" refType="h" fact="0.72969"/>
              <dgm:constr type="w" for="ch" forName="d2" refType="w" fact="0.2387"/>
              <dgm:constr type="h" for="ch" forName="d2" refType="h" fact="0.4017"/>
              <dgm:constr type="w" for="ch" forName="circle3" refType="w" fact="0.6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21875"/>
              <dgm:constr type="l" for="ch" forName="text3"/>
              <dgm:constr type="t" for="ch" forName="text3" refType="b" refFor="ch" refForName="text2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52825"/>
              <dgm:constr type="b" for="ch" forName="d3" refType="h" fact="0.83375"/>
              <dgm:constr type="w" for="ch" forName="d3" refType="w" fact="0.1527"/>
              <dgm:constr type="h" for="ch" forName="d3" refType="h" fact="0.287"/>
            </dgm:constrLst>
          </dgm:if>
          <dgm:if name="Name16" axis="ch" ptType="node" func="cnt" op="equ" val="4">
            <dgm:constrLst>
              <dgm:constr type="primFontSz" for="des" ptType="node" op="equ" val="65"/>
              <dgm:constr type="w" for="ch" forName="circle1" refType="w" fact="0.0857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17938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05"/>
              <dgm:constr type="b" for="ch" forName="d1" refType="h" fact="0.62"/>
              <dgm:constr type="w" for="ch" forName="d1" refType="w" fact="0.33"/>
              <dgm:constr type="h" for="ch" forName="d1" refType="h" fact="0.53"/>
              <dgm:constr type="w" for="ch" forName="circle2" refType="w" fact="0.2571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17938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3375"/>
              <dgm:constr type="b" for="ch" forName="d2" refType="h" fact="0.70438"/>
              <dgm:constr type="w" for="ch" forName="d2" refType="w" fact="0.2585"/>
              <dgm:constr type="h" for="ch" forName="d2" refType="h" fact="0.43525"/>
              <dgm:constr type="w" for="ch" forName="circle3" refType="w" fact="0.4285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7938"/>
              <dgm:constr type="l" for="ch" forName="text3"/>
              <dgm:constr type="t" for="ch" forName="text3" refType="b" refFor="ch" refForName="text2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5745"/>
              <dgm:constr type="b" for="ch" forName="d3" refType="h" fact="0.78031"/>
              <dgm:constr type="w" for="ch" forName="d3" refType="w" fact="0.1995"/>
              <dgm:constr type="h" for="ch" forName="d3" refType="h" fact="0.332"/>
              <dgm:constr type="w" for="ch" forName="circle4" refType="w" fact="0.6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7938"/>
              <dgm:constr type="l" for="ch" forName="text4"/>
              <dgm:constr type="t" for="ch" forName="text4" refType="b" refFor="ch" refForName="text3"/>
              <dgm:constr type="l" for="ch" forName="line4" refType="r" refFor="ch" refForName="text4"/>
              <dgm:constr type="ctrY" for="ch" forName="line4" refType="ctrY" refFor="ch" refForName="text4"/>
              <dgm:constr type="r" for="ch" forName="line4" refType="w" fact="0.375"/>
              <dgm:constr type="h" for="ch" forName="line4"/>
              <dgm:constr type="r" for="ch" forName="d4" refType="w" fact="0.51475"/>
              <dgm:constr type="b" for="ch" forName="d4" refType="h" fact="0.85594"/>
              <dgm:constr type="w" for="ch" forName="d4" refType="w" fact="0.1394"/>
              <dgm:constr type="h" for="ch" forName="d4" refType="h" fact="0.2282"/>
            </dgm:constrLst>
          </dgm:if>
          <dgm:if name="Name17" axis="ch" ptType="node" func="cnt" op="gte" val="5">
            <dgm:constrLst>
              <dgm:constr type="primFontSz" for="des" ptType="node" op="equ" val="65"/>
              <dgm:constr type="w" for="ch" forName="circle1" refType="w" fact="0.0667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1324"/>
              <dgm:constr type="l" for="ch" forName="text1"/>
              <dgm:constr type="ctrY" for="ch" forName="text1" refType="h" fact="0.13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5"/>
              <dgm:constr type="h" for="ch" forName="d1" refType="h" fact="0.495"/>
              <dgm:constr type="w" for="ch" forName="circle2" refType="w" fact="0.2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1324"/>
              <dgm:constr type="l" for="ch" forName="text2"/>
              <dgm:constr type="ctrY" for="ch" forName="text2" refType="h" fact="0.27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502"/>
              <dgm:constr type="b" for="ch" forName="d2" refType="h" fact="0.682"/>
              <dgm:constr type="w" for="ch" forName="d2" refType="w" fact="0.275"/>
              <dgm:constr type="h" for="ch" forName="d2" refType="h" fact="0.41215"/>
              <dgm:constr type="w" for="ch" forName="circle3" refType="w" fact="0.3334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324"/>
              <dgm:constr type="l" for="ch" forName="text3"/>
              <dgm:constr type="ctrY" for="ch" forName="text3" refType="h" fact="0.41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606"/>
              <dgm:constr type="b" for="ch" forName="d3" refType="h" fact="0.735"/>
              <dgm:constr type="w" for="ch" forName="d3" refType="w" fact="0.231"/>
              <dgm:constr type="h" for="ch" forName="d3" refType="h" fact="0.325"/>
              <dgm:constr type="w" for="ch" forName="circle4" refType="w" fact="0.4667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324"/>
              <dgm:constr type="l" for="ch" forName="text4"/>
              <dgm:constr type="ctrY" for="ch" forName="text4" refType="h" fact="0.547"/>
              <dgm:constr type="l" for="ch" forName="line4" refType="r" refFor="ch" refForName="text4"/>
              <dgm:constr type="ctrY" for="ch" forName="line4" refType="ctrY" refFor="ch" refForName="text4"/>
              <dgm:constr type="r" for="ch" forName="line4" refType="w" fact="0.375"/>
              <dgm:constr type="h" for="ch" forName="line4"/>
              <dgm:constr type="r" for="ch" forName="d4" refType="w" fact="0.554"/>
              <dgm:constr type="b" for="ch" forName="d4" refType="h" fact="0.795"/>
              <dgm:constr type="w" for="ch" forName="d4" refType="w" fact="0.179"/>
              <dgm:constr type="h" for="ch" forName="d4" refType="h" fact="0.248"/>
              <dgm:constr type="w" for="ch" forName="circle5" refType="w" fact="0.6"/>
              <dgm:constr type="h" for="ch" forName="circle5" refType="w" refFor="ch" refForName="circle5"/>
              <dgm:constr type="ctrX" for="ch" forName="circle5" refType="ctrX" refFor="ch" refForName="circle1"/>
              <dgm:constr type="ctrY" for="ch" forName="circle5" refType="ctrY" refFor="ch" refForName="circle1"/>
              <dgm:constr type="w" for="ch" forName="text5" refType="w" fact="0.3"/>
              <dgm:constr type="h" for="ch" forName="text5" refType="h" fact="0.1324"/>
              <dgm:constr type="l" for="ch" forName="text5"/>
              <dgm:constr type="ctrY" for="ch" forName="text5" refType="h" fact="0.68"/>
              <dgm:constr type="l" for="ch" forName="line5" refType="r" refFor="ch" refForName="text5"/>
              <dgm:constr type="ctrY" for="ch" forName="line5" refType="ctrY" refFor="ch" refForName="text5"/>
              <dgm:constr type="r" for="ch" forName="line5" refType="w" fact="0.375"/>
              <dgm:constr type="h" for="ch" forName="line5"/>
              <dgm:constr type="r" for="ch" forName="d5" refType="w" fact="0.505"/>
              <dgm:constr type="b" for="ch" forName="d5" refType="h" fact="0.855"/>
              <dgm:constr type="w" for="ch" forName="d5" refType="w" fact="0.13"/>
              <dgm:constr type="h" for="ch" forName="d5" refType="h" fact="0.175"/>
            </dgm:constrLst>
          </dgm:if>
          <dgm:else name="Name18"/>
        </dgm:choose>
      </dgm:else>
    </dgm:choose>
    <dgm:ruleLst/>
    <dgm:forEach name="Name19" axis="ch" ptType="node" cnt="1">
      <dgm:layoutNode name="circle1" styleLbl="l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text1" styleLbl="revTx">
        <dgm:varLst>
          <dgm:bulletEnabled val="1"/>
        </dgm:varLst>
        <dgm:choose name="Name20">
          <dgm:if name="Name21" func="var" arg="dir" op="equ" val="norm">
            <dgm:choose name="Name22">
              <dgm:if name="Name23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24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25">
            <dgm:choose name="Name26">
              <dgm:if name="Name27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28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29">
          <dgm:if name="Name30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31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1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1" styleLbl="callout">
        <dgm:alg type="sp"/>
        <dgm:choose name="Name32">
          <dgm:if name="Name33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34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35" axis="ch" ptType="node" st="2" cnt="1">
      <dgm:layoutNode name="circle2" styleLbl="lnNode1">
        <dgm:alg type="sp"/>
        <dgm:shape xmlns:r="http://schemas.openxmlformats.org/officeDocument/2006/relationships" type="ellipse" r:blip="" zOrderOff="-5">
          <dgm:adjLst/>
        </dgm:shape>
        <dgm:presOf/>
        <dgm:constrLst/>
        <dgm:ruleLst/>
      </dgm:layoutNode>
      <dgm:layoutNode name="text2" styleLbl="revTx">
        <dgm:varLst>
          <dgm:bulletEnabled val="1"/>
        </dgm:varLst>
        <dgm:choose name="Name36">
          <dgm:if name="Name37" func="var" arg="dir" op="equ" val="norm">
            <dgm:choose name="Name38">
              <dgm:if name="Name39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40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41">
            <dgm:choose name="Name42">
              <dgm:if name="Name43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44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45">
          <dgm:if name="Name46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47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2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2" styleLbl="callout">
        <dgm:alg type="sp"/>
        <dgm:choose name="Name48">
          <dgm:if name="Name49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50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51" axis="ch" ptType="node" st="3" cnt="1">
      <dgm:layoutNode name="circle3" styleLbl="lnNode1">
        <dgm:alg type="sp"/>
        <dgm:shape xmlns:r="http://schemas.openxmlformats.org/officeDocument/2006/relationships" type="ellipse" r:blip="" zOrderOff="-10">
          <dgm:adjLst/>
        </dgm:shape>
        <dgm:presOf/>
        <dgm:constrLst/>
        <dgm:ruleLst/>
      </dgm:layoutNode>
      <dgm:layoutNode name="text3" styleLbl="revTx">
        <dgm:varLst>
          <dgm:bulletEnabled val="1"/>
        </dgm:varLst>
        <dgm:choose name="Name52">
          <dgm:if name="Name53" func="var" arg="dir" op="equ" val="norm">
            <dgm:choose name="Name54">
              <dgm:if name="Name55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56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57">
            <dgm:choose name="Name58">
              <dgm:if name="Name59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60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61">
          <dgm:if name="Name62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63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3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3" styleLbl="callout">
        <dgm:alg type="sp"/>
        <dgm:choose name="Name64">
          <dgm:if name="Name65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66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67" axis="ch" ptType="node" st="4" cnt="1">
      <dgm:layoutNode name="circle4" styleLbl="lnNode1">
        <dgm:alg type="sp"/>
        <dgm:shape xmlns:r="http://schemas.openxmlformats.org/officeDocument/2006/relationships" type="ellipse" r:blip="" zOrderOff="-15">
          <dgm:adjLst/>
        </dgm:shape>
        <dgm:presOf/>
        <dgm:constrLst/>
        <dgm:ruleLst/>
      </dgm:layoutNode>
      <dgm:layoutNode name="text4" styleLbl="revTx">
        <dgm:varLst>
          <dgm:bulletEnabled val="1"/>
        </dgm:varLst>
        <dgm:choose name="Name68">
          <dgm:if name="Name69" func="var" arg="dir" op="equ" val="norm">
            <dgm:choose name="Name70">
              <dgm:if name="Name71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2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73">
            <dgm:choose name="Name74">
              <dgm:if name="Name75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6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77">
          <dgm:if name="Name78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79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4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4" styleLbl="callout">
        <dgm:alg type="sp"/>
        <dgm:choose name="Name80">
          <dgm:if name="Name81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82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83" axis="ch" ptType="node" st="5" cnt="1">
      <dgm:layoutNode name="circle5" styleLbl="lnNode1">
        <dgm:alg type="sp"/>
        <dgm:shape xmlns:r="http://schemas.openxmlformats.org/officeDocument/2006/relationships" type="ellipse" r:blip="" zOrderOff="-20">
          <dgm:adjLst/>
        </dgm:shape>
        <dgm:presOf/>
        <dgm:constrLst/>
        <dgm:ruleLst/>
      </dgm:layoutNode>
      <dgm:layoutNode name="text5" styleLbl="revTx">
        <dgm:varLst>
          <dgm:bulletEnabled val="1"/>
        </dgm:varLst>
        <dgm:choose name="Name84">
          <dgm:if name="Name85" func="var" arg="dir" op="equ" val="norm">
            <dgm:choose name="Name86">
              <dgm:if name="Name87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88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89">
            <dgm:choose name="Name90">
              <dgm:if name="Name91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92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93">
          <dgm:if name="Name94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95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5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5" styleLbl="callout">
        <dgm:alg type="sp"/>
        <dgm:choose name="Name96">
          <dgm:if name="Name97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98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5FACC53-DC5A-474D-BF40-5DEE5F8B64A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dirty="0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76045F-ADB6-491B-962A-FF775ED846C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B6EFF9-8149-4B5D-A6E5-2AE8F4B33535}" type="datetimeFigureOut">
              <a:rPr lang="en-GB" smtClean="0">
                <a:latin typeface="Arial" panose="020B0604020202020204" pitchFamily="34" charset="0"/>
              </a:rPr>
              <a:t>09/11/2022</a:t>
            </a:fld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23ED0C-AA8B-40BA-B6F3-D505E74CA77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13853D-F1D8-47E4-9768-A371E326179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6E183A-C4E9-47DF-9822-C1FEB6FD02A0}" type="slidenum">
              <a:rPr lang="en-GB" smtClean="0">
                <a:latin typeface="Arial" panose="020B0604020202020204" pitchFamily="34" charset="0"/>
              </a:rPr>
              <a:t>‹#›</a:t>
            </a:fld>
            <a:endParaRPr lang="en-GB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84002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19DD4CF-C917-4D69-9374-6EFF2E9F78C3}" type="datetimeFigureOut">
              <a:rPr lang="en-GB" smtClean="0"/>
              <a:pPr/>
              <a:t>09/11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A7443C7B-F938-4CE9-A268-32817172635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87407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31053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9CF60C-F237-4C35-B5B9-DCAC15891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9DBEF-F615-45A1-AA51-C34CD01BC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3A0FA-AB68-49F8-A8DA-E9F3A2F1B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F4F1C2-2D04-4080-9FD1-F04C6A852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6"/>
            <a:ext cx="7991475" cy="3897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8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4B0388-7C7E-45C3-A6E3-3E637FAB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C33F9F-6CBB-499E-A399-F579A1C082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B278D-E37B-46DC-954C-589B0EF3E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26578-F514-4D23-8B3F-F3016B7CA9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576263" y="835025"/>
            <a:ext cx="7991475" cy="3897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FE40DE-7E7D-4146-AB2D-5551E7E74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770B-7A94-4844-AD38-CF8FB308000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74F79-D68A-45F4-B9C7-F1CCDF9519A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6A03-20E1-4E11-AF69-2080BD58C1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437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859338" y="835026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 baseline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1EA73AF-7637-4A6C-A4B0-311EBFC6D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264F-6D72-4F24-8CD7-BE495E8BB68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CD3D90-6931-458C-A0AF-D2BBC25C86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8558DF-C777-4C31-85A8-21E662F0A5E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859338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287338" indent="-287338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72E2A8-E205-4778-8440-C86A3161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4B11B-E592-4BB9-AE34-F70CB195E72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F1A4215-8A59-48E0-8F12-9F23CA6022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294D08-94E6-49A2-9DF7-398509396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995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 </a:t>
            </a:r>
            <a:br>
              <a:rPr lang="en-US" noProof="0" dirty="0"/>
            </a:br>
            <a:r>
              <a:rPr lang="en-US" noProof="0" dirty="0"/>
              <a:t>or click icon to add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1301CE-B3DE-49E1-B3B2-EA2475A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3708400" cy="5048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3F7EFBD-DB9C-45C5-9F2E-C46AEC5F67D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3377E4-E0A6-4CAB-B97D-200423520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FCB58-7D88-4A1A-B1DD-02B1B052F52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183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</a:t>
            </a:r>
            <a:br>
              <a:rPr lang="en-US" noProof="0" dirty="0"/>
            </a:br>
            <a:r>
              <a:rPr lang="en-US" noProof="0" dirty="0"/>
              <a:t>or click icon to add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859338" y="835025"/>
            <a:ext cx="3681797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EE6764-BCD9-4C0F-8D7F-6DAB3E01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338" y="195263"/>
            <a:ext cx="3681797" cy="5048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0B3F087-DB20-4A94-AB80-B37ECB4779C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6D60D1-99A0-4A98-BC8E-3EF57AA9400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6BAC64-3B0D-463F-8B20-473CDA4BD82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27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946856-8546-4DA9-9A8E-E5AE5A89C49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5E8465-767D-44BA-B892-E9FA43E13D5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6D917-89B9-4999-9898-0406930D63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oundRect">
            <a:avLst>
              <a:gd name="adj" fmla="val 2994"/>
            </a:avLst>
          </a:prstGeom>
          <a:solidFill>
            <a:schemeClr val="accent6"/>
          </a:solidFill>
          <a:effectLst>
            <a:outerShdw blurRad="139700" dist="12700" dir="2700000" sx="101000" sy="101000" algn="t" rotWithShape="0">
              <a:srgbClr val="353535">
                <a:alpha val="41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2196000" rIns="0" bIns="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B6A0F-FAB0-4F8C-9459-30EDA083527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A77CE-E662-481F-BCC4-5E6BB30CACE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6AD45-0EAC-4DBD-8C61-C0F4ACB5360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7361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7FD35B-6C0E-42DE-85B1-6521194AA6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11B6FB-578C-4F3B-A98D-5AF9DECFC4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18D1FF-B499-48AE-A463-FCD1B03277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18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46A4B26-CBD6-4EC3-9BB2-03D1059EC0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oundRect">
            <a:avLst>
              <a:gd name="adj" fmla="val 3147"/>
            </a:avLst>
          </a:prstGeom>
          <a:solidFill>
            <a:schemeClr val="accent6"/>
          </a:solidFill>
          <a:effectLst>
            <a:outerShdw blurRad="139700" dist="12700" dir="2700000" sx="101000" sy="101000" algn="ctr" rotWithShape="0">
              <a:prstClr val="black">
                <a:alpha val="41000"/>
              </a:prstClr>
            </a:outerShdw>
          </a:effectLst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DD8DB3-C531-4BAF-94DF-B0A78EC717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44BE83-BA14-49B6-A392-4BAD50F860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0C4FF9-2E18-439F-BB75-2227EBAD58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783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D87977-6410-4861-821B-247A28DFF4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263" y="835025"/>
            <a:ext cx="7991475" cy="3897313"/>
          </a:xfrm>
          <a:solidFill>
            <a:schemeClr val="accent6"/>
          </a:solidFill>
        </p:spPr>
        <p:txBody>
          <a:bodyPr tIns="2088000"/>
          <a:lstStyle>
            <a:lvl1pPr marL="0" indent="0" algn="ctr">
              <a:buNone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931620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 dirty="0"/>
              <a:t>Drag movie to placeholder or click icon to ad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4227513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50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576261" y="835024"/>
            <a:ext cx="7990394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table</a:t>
            </a:r>
            <a:endParaRPr lang="en-US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01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4533" y="2325818"/>
            <a:ext cx="2929467" cy="281768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“Quote”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140A6-5D0E-4488-95CA-4733486F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00B3A-B3FB-4A32-A145-4E221A43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DC275C-83AD-4E74-9F99-2A21F1C78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781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white text - on dark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US" noProof="0" dirty="0"/>
              <a:t>Drag picture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FDA8F-E5DE-42B3-BE10-7B8BCDC83F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D733F-B7CE-451D-A09C-370A3D494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4006D7-7C1F-4025-93C7-D6BFDD015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8A7EB86-3F9E-4A42-81FA-F215DE6BC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“Quote”</a:t>
            </a:r>
          </a:p>
        </p:txBody>
      </p:sp>
    </p:spTree>
    <p:extLst>
      <p:ext uri="{BB962C8B-B14F-4D97-AF65-F5344CB8AC3E}">
        <p14:creationId xmlns:p14="http://schemas.microsoft.com/office/powerpoint/2010/main" val="2195032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dark text - on ligh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US" dirty="0"/>
              <a:t>Drag </a:t>
            </a:r>
            <a:r>
              <a:rPr lang="en-US" noProof="0" dirty="0"/>
              <a:t>picture</a:t>
            </a:r>
            <a:r>
              <a:rPr lang="en-US" dirty="0"/>
              <a:t>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5D03DB-E24A-4B52-B9D9-B3D6DF2138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D1E53-7D02-44DA-8691-6E53E6200A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AB17E-1E0B-4FA0-982D-17BEFEF877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28E9124-E359-49E6-A14A-2497E35E51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“Quote”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26F7B-C707-4C07-B686-02CD29F0CA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944888"/>
            <a:ext cx="3708400" cy="1594378"/>
          </a:xfrm>
        </p:spPr>
        <p:txBody>
          <a:bodyPr/>
          <a:lstStyle>
            <a:lvl1pPr marL="0" indent="0">
              <a:buNone/>
              <a:tabLst/>
              <a:defRPr lang="en-US" sz="500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osing lin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330700"/>
            <a:ext cx="5112709" cy="4488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A798CCC-F599-47BC-84EE-8CAA3D2206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46097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7990393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73F1347-FE67-40E4-AA2D-310D37787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90D2E0-D57F-4A41-BD5C-3583FF074B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4C421E-5D95-451E-8949-471305E9407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9D60DA-BD57-4569-90FD-32EA726464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358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4859339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4831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209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C401EA3-16A6-47D3-9D6E-A27DFE2287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88984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59339" y="835025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619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4859337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4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97C3F8B-AA01-47E2-9CB3-C8B5B86F1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tabLst>
                <a:tab pos="1079500" algn="l"/>
              </a:tabLst>
              <a:defRPr/>
            </a:lvl1pPr>
          </a:lstStyle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27E724-76AC-43CB-8150-488BD4B602E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402BF66-0833-4D31-80F3-93788D9D40C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46FAC6A-2EDD-45F1-BB2D-4D0B78A0510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219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Chart Placeholder 5"/>
          <p:cNvSpPr>
            <a:spLocks noGrp="1"/>
          </p:cNvSpPr>
          <p:nvPr>
            <p:ph type="chart" sz="quarter" idx="18"/>
          </p:nvPr>
        </p:nvSpPr>
        <p:spPr>
          <a:xfrm>
            <a:off x="3336087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6095912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6AC3EB6-1B81-4F6E-9980-641B2C288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0E28DA-F910-4040-B42A-86EE40EE144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FDF0E6-F08C-4144-89DF-E19E4D5C057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51FF921-569A-4A54-859C-5F61B641D5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20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FCEF2CD-9A3A-421B-94C9-614952CA20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929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4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bg1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Click to edit title</a:t>
            </a:r>
            <a:br>
              <a:rPr lang="en-US"/>
            </a:br>
            <a:r>
              <a:rPr lang="en-US"/>
              <a:t>max over 2 lines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4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US"/>
              <a:t>Subtitl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9B5CBCDE-5E13-4C2D-BD2B-A7F04116F6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5181"/>
          <a:stretch/>
        </p:blipFill>
        <p:spPr>
          <a:xfrm>
            <a:off x="0" y="-1"/>
            <a:ext cx="9144000" cy="797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815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GB" dirty="0"/>
            </a:lvl1pPr>
          </a:lstStyle>
          <a:p>
            <a:pPr marL="285750" lvl="0" indent="-285750">
              <a:lnSpc>
                <a:spcPct val="100000"/>
              </a:lnSpc>
            </a:pPr>
            <a:r>
              <a:rPr lang="en-US"/>
              <a:t>Click to edit Master text styles</a:t>
            </a: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956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9CF60C-F237-4C35-B5B9-DCAC15891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9DBEF-F615-45A1-AA51-C34CD01BC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3A0FA-AB68-49F8-A8DA-E9F3A2F1B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F4F1C2-2D04-4080-9FD1-F04C6A852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146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6"/>
            <a:ext cx="7991475" cy="3897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8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4B0388-7C7E-45C3-A6E3-3E637FAB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C33F9F-6CBB-499E-A399-F579A1C082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B278D-E37B-46DC-954C-589B0EF3E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26578-F514-4D23-8B3F-F3016B7CA9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346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576263" y="835025"/>
            <a:ext cx="7991475" cy="3897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FE40DE-7E7D-4146-AB2D-5551E7E74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770B-7A94-4844-AD38-CF8FB308000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74F79-D68A-45F4-B9C7-F1CCDF9519A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6A03-20E1-4E11-AF69-2080BD58C1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597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859338" y="835026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 baseline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1EA73AF-7637-4A6C-A4B0-311EBFC6D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264F-6D72-4F24-8CD7-BE495E8BB68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CD3D90-6931-458C-A0AF-D2BBC25C86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8558DF-C777-4C31-85A8-21E662F0A5E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0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59E71B1-F750-4435-986C-7F9EF20560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99294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859338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287338" indent="-287338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72E2A8-E205-4778-8440-C86A3161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4B11B-E592-4BB9-AE34-F70CB195E72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F1A4215-8A59-48E0-8F12-9F23CA6022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294D08-94E6-49A2-9DF7-398509396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36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</a:t>
            </a:r>
            <a:br>
              <a:rPr lang="en-US" noProof="0"/>
            </a:br>
            <a:r>
              <a:rPr lang="en-US" noProof="0"/>
              <a:t>or click icon to add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1301CE-B3DE-49E1-B3B2-EA2475A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3708400" cy="504825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3F7EFBD-DB9C-45C5-9F2E-C46AEC5F67D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3377E4-E0A6-4CAB-B97D-200423520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FCB58-7D88-4A1A-B1DD-02B1B052F52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3925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</a:t>
            </a:r>
            <a:br>
              <a:rPr lang="en-US" noProof="0"/>
            </a:br>
            <a:r>
              <a:rPr lang="en-US" noProof="0"/>
              <a:t>or click icon to add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859338" y="835025"/>
            <a:ext cx="3681797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EE6764-BCD9-4C0F-8D7F-6DAB3E01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338" y="195263"/>
            <a:ext cx="3681797" cy="504825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0B3F087-DB20-4A94-AB80-B37ECB4779C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6D60D1-99A0-4A98-BC8E-3EF57AA9400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6BAC64-3B0D-463F-8B20-473CDA4BD82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561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ect">
            <a:avLst/>
          </a:prstGeom>
          <a:solidFill>
            <a:schemeClr val="accent6"/>
          </a:solidFill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946856-8546-4DA9-9A8E-E5AE5A89C49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5E8465-767D-44BA-B892-E9FA43E13D5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6D917-89B9-4999-9898-0406930D63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462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oundRect">
            <a:avLst>
              <a:gd name="adj" fmla="val 4402"/>
            </a:avLst>
          </a:prstGeom>
          <a:solidFill>
            <a:schemeClr val="accent6"/>
          </a:solidFill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2232000" rIns="0" bIns="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B6A0F-FAB0-4F8C-9459-30EDA083527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A77CE-E662-481F-BCC4-5E6BB30CACE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6AD45-0EAC-4DBD-8C61-C0F4ACB5360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93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ect">
            <a:avLst/>
          </a:prstGeom>
          <a:solidFill>
            <a:schemeClr val="accent6"/>
          </a:solidFill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7FD35B-6C0E-42DE-85B1-6521194AA6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11B6FB-578C-4F3B-A98D-5AF9DECFC4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18D1FF-B499-48AE-A463-FCD1B03277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7704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oundRect">
            <a:avLst>
              <a:gd name="adj" fmla="val 4626"/>
            </a:avLst>
          </a:prstGeom>
          <a:solidFill>
            <a:schemeClr val="accent6"/>
          </a:solidFill>
          <a:effectLst/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DD8DB3-C531-4BAF-94DF-B0A78EC717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44BE83-BA14-49B6-A392-4BAD50F860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0C4FF9-2E18-439F-BB75-2227EBAD58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825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D87977-6410-4861-821B-247A28DFF4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263" y="835025"/>
            <a:ext cx="7991475" cy="3897313"/>
          </a:xfrm>
          <a:solidFill>
            <a:schemeClr val="accent6"/>
          </a:solidFill>
        </p:spPr>
        <p:txBody>
          <a:bodyPr tIns="223200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66524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/>
              <a:t>Drag movie to placeholder or click icon to add</a:t>
            </a:r>
            <a:endParaRPr lang="en-US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4227513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8403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576261" y="835024"/>
            <a:ext cx="7990394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table</a:t>
            </a:r>
            <a:endParaRPr lang="en-US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8960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77043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EEE115E-9A03-449B-92F1-3CD40794A0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900" y="2057400"/>
            <a:ext cx="3086100" cy="30861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>
              <a:lnSpc>
                <a:spcPct val="100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Quote”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140A6-5D0E-4488-95CA-4733486F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00B3A-B3FB-4A32-A145-4E221A43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DC275C-83AD-4E74-9F99-2A21F1C78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114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white text - on dark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into placeholder</a:t>
            </a:r>
            <a:endParaRPr lang="en-US" noProof="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3C7E15-6A7F-304C-9E96-52D4906F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35024"/>
            <a:ext cx="5976000" cy="3168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“Quote”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FDA8F-E5DE-42B3-BE10-7B8BCDC83F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D733F-B7CE-451D-A09C-370A3D494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4006D7-7C1F-4025-93C7-D6BFDD015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65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dark text - on ligh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Drag </a:t>
            </a:r>
            <a:r>
              <a:rPr lang="en-US" noProof="0"/>
              <a:t>picture</a:t>
            </a:r>
            <a:r>
              <a:rPr lang="en-US"/>
              <a:t> into placeholder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3C7E15-6A7F-304C-9E96-52D4906F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35024"/>
            <a:ext cx="5976000" cy="3168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lnSpc>
                <a:spcPct val="100000"/>
              </a:lnSpc>
              <a:defRPr sz="3600">
                <a:solidFill>
                  <a:srgbClr val="53565A"/>
                </a:solidFill>
              </a:defRPr>
            </a:lvl1pPr>
          </a:lstStyle>
          <a:p>
            <a:r>
              <a:rPr lang="en-US"/>
              <a:t>“Quote”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5D03DB-E24A-4B52-B9D9-B3D6DF2138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D1E53-7D02-44DA-8691-6E53E6200A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AB17E-1E0B-4FA0-982D-17BEFEF877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52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26F7B-C707-4C07-B686-02CD29F0CA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944888"/>
            <a:ext cx="3708400" cy="1594378"/>
          </a:xfrm>
        </p:spPr>
        <p:txBody>
          <a:bodyPr/>
          <a:lstStyle>
            <a:lvl1pPr marL="0" indent="0">
              <a:buNone/>
              <a:tabLst/>
              <a:defRPr lang="en-US" sz="5000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osing lin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330700"/>
            <a:ext cx="5112709" cy="4488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at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C1E151E-40BD-4BA6-BA47-B4CC88EEAB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265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7990393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73F1347-FE67-40E4-AA2D-310D37787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90D2E0-D57F-4A41-BD5C-3583FF074B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4C421E-5D95-451E-8949-471305E9407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9D60DA-BD57-4569-90FD-32EA726464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8154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4859339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4831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420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59339" y="835025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5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4859337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4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97C3F8B-AA01-47E2-9CB3-C8B5B86F1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27E724-76AC-43CB-8150-488BD4B602E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402BF66-0833-4D31-80F3-93788D9D40C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46FAC6A-2EDD-45F1-BB2D-4D0B78A0510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943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Chart Placeholder 5"/>
          <p:cNvSpPr>
            <a:spLocks noGrp="1"/>
          </p:cNvSpPr>
          <p:nvPr>
            <p:ph type="chart" sz="quarter" idx="18"/>
          </p:nvPr>
        </p:nvSpPr>
        <p:spPr>
          <a:xfrm>
            <a:off x="3336087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6095912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6AC3EB6-1B81-4F6E-9980-641B2C288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0E28DA-F910-4040-B42A-86EE40EE144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FDF0E6-F08C-4144-89DF-E19E4D5C057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51FF921-569A-4A54-859C-5F61B641D5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298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and gray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9931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8A0C770-19FC-43E2-AEE2-B18B053BE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9138993" cy="797661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4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tx1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  <a:br>
              <a:rPr lang="en-US" dirty="0"/>
            </a:br>
            <a:r>
              <a:rPr lang="en-US" dirty="0"/>
              <a:t>max over 2 lin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4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Sub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88000" indent="-288000">
              <a:defRPr lang="en-GB" dirty="0"/>
            </a:lvl1pPr>
          </a:lstStyle>
          <a:p>
            <a:pPr marL="285750" lvl="0" indent="-28575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260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image" Target="../media/image4.svg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928590-4084-6B40-8DED-B4F8C98BED1B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rcRect/>
          <a:stretch/>
        </p:blipFill>
        <p:spPr>
          <a:xfrm>
            <a:off x="8567737" y="198501"/>
            <a:ext cx="401839" cy="443408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7558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2" r:id="rId2"/>
    <p:sldLayoutId id="2147483803" r:id="rId3"/>
    <p:sldLayoutId id="2147483660" r:id="rId4"/>
    <p:sldLayoutId id="2147483802" r:id="rId5"/>
    <p:sldLayoutId id="2147483804" r:id="rId6"/>
    <p:sldLayoutId id="2147483701" r:id="rId7"/>
    <p:sldLayoutId id="2147483734" r:id="rId8"/>
    <p:sldLayoutId id="2147483650" r:id="rId9"/>
    <p:sldLayoutId id="2147483735" r:id="rId10"/>
    <p:sldLayoutId id="2147483708" r:id="rId11"/>
    <p:sldLayoutId id="2147483662" r:id="rId12"/>
    <p:sldLayoutId id="2147483703" r:id="rId13"/>
    <p:sldLayoutId id="2147483696" r:id="rId14"/>
    <p:sldLayoutId id="2147483663" r:id="rId15"/>
    <p:sldLayoutId id="2147483698" r:id="rId16"/>
    <p:sldLayoutId id="2147483699" r:id="rId17"/>
    <p:sldLayoutId id="2147483737" r:id="rId18"/>
    <p:sldLayoutId id="2147483666" r:id="rId19"/>
    <p:sldLayoutId id="2147483736" r:id="rId20"/>
    <p:sldLayoutId id="2147483738" r:id="rId21"/>
    <p:sldLayoutId id="2147483767" r:id="rId22"/>
    <p:sldLayoutId id="2147483669" r:id="rId23"/>
    <p:sldLayoutId id="2147483665" r:id="rId24"/>
    <p:sldLayoutId id="2147483664" r:id="rId25"/>
    <p:sldLayoutId id="2147483709" r:id="rId26"/>
    <p:sldLayoutId id="2147483670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7">
            <a:extLst>
              <a:ext uri="{FF2B5EF4-FFF2-40B4-BE49-F238E27FC236}">
                <a16:creationId xmlns:a16="http://schemas.microsoft.com/office/drawing/2014/main" id="{8D5161C8-EE77-4377-B6B1-7E9C29CB9F0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8567737" y="198501"/>
            <a:ext cx="401839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582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88" r:id="rId2"/>
    <p:sldLayoutId id="2147483792" r:id="rId3"/>
    <p:sldLayoutId id="2147483790" r:id="rId4"/>
    <p:sldLayoutId id="214748379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E2E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D2B5B76-D48B-486B-B148-17C02F22EB4C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rcRect/>
          <a:stretch/>
        </p:blipFill>
        <p:spPr>
          <a:xfrm>
            <a:off x="8570538" y="198501"/>
            <a:ext cx="396236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54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801" r:id="rId16"/>
    <p:sldLayoutId id="2147483762" r:id="rId17"/>
    <p:sldLayoutId id="2147483763" r:id="rId18"/>
    <p:sldLayoutId id="2147483764" r:id="rId19"/>
    <p:sldLayoutId id="2147483765" r:id="rId20"/>
    <p:sldLayoutId id="2147483766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E2E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2B01DC-AA4B-4B09-A9C1-2490348EB46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8570538" y="198501"/>
            <a:ext cx="396236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072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A463197-A37C-4D3D-BFBC-CCB0E2CCBB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yfield Stakeholder Map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FD54029D-CC6C-40ED-B044-97E4B2AD8B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4571994"/>
              </p:ext>
            </p:extLst>
          </p:nvPr>
        </p:nvGraphicFramePr>
        <p:xfrm>
          <a:off x="1524000" y="53975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5D5733F-328C-480D-910B-E1CB08C6355D}"/>
              </a:ext>
            </a:extLst>
          </p:cNvPr>
          <p:cNvCxnSpPr>
            <a:cxnSpLocks/>
          </p:cNvCxnSpPr>
          <p:nvPr/>
        </p:nvCxnSpPr>
        <p:spPr>
          <a:xfrm flipH="1">
            <a:off x="2203200" y="1398704"/>
            <a:ext cx="2858400" cy="3266896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012E8E9-00B1-41E3-96C7-FA5E7F5B10DF}"/>
              </a:ext>
            </a:extLst>
          </p:cNvPr>
          <p:cNvCxnSpPr>
            <a:cxnSpLocks/>
          </p:cNvCxnSpPr>
          <p:nvPr/>
        </p:nvCxnSpPr>
        <p:spPr>
          <a:xfrm flipH="1" flipV="1">
            <a:off x="2008800" y="1514120"/>
            <a:ext cx="2937600" cy="308963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6CDD9D20-81E0-495F-B100-8B402EC9B035}"/>
              </a:ext>
            </a:extLst>
          </p:cNvPr>
          <p:cNvSpPr txBox="1"/>
          <p:nvPr/>
        </p:nvSpPr>
        <p:spPr>
          <a:xfrm>
            <a:off x="2752038" y="1283288"/>
            <a:ext cx="17352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Governance Segmen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CE8FFAE-5C6E-476E-A3AD-1A6460DFE42C}"/>
              </a:ext>
            </a:extLst>
          </p:cNvPr>
          <p:cNvSpPr txBox="1"/>
          <p:nvPr/>
        </p:nvSpPr>
        <p:spPr>
          <a:xfrm>
            <a:off x="557387" y="2810623"/>
            <a:ext cx="17352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Provider Segmen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941F5CF-F786-4E65-9BBD-C26A741D6B77}"/>
              </a:ext>
            </a:extLst>
          </p:cNvPr>
          <p:cNvSpPr txBox="1"/>
          <p:nvPr/>
        </p:nvSpPr>
        <p:spPr>
          <a:xfrm>
            <a:off x="2752038" y="4719166"/>
            <a:ext cx="17352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Influencer Segmen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2EB7C19-65F0-49D1-A1D4-CE44EA20D8ED}"/>
              </a:ext>
            </a:extLst>
          </p:cNvPr>
          <p:cNvSpPr txBox="1"/>
          <p:nvPr/>
        </p:nvSpPr>
        <p:spPr>
          <a:xfrm>
            <a:off x="4873200" y="3741166"/>
            <a:ext cx="17352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Customer Segment</a:t>
            </a:r>
          </a:p>
        </p:txBody>
      </p:sp>
    </p:spTree>
    <p:extLst>
      <p:ext uri="{BB962C8B-B14F-4D97-AF65-F5344CB8AC3E}">
        <p14:creationId xmlns:p14="http://schemas.microsoft.com/office/powerpoint/2010/main" val="2589014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6ACBBA9-194F-4965-9329-4EB4DDD1A4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46824" y="835025"/>
            <a:ext cx="4179424" cy="3897313"/>
          </a:xfrm>
          <a:prstGeom prst="rect">
            <a:avLst/>
          </a:prstGeom>
          <a:noFill/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05BE7AC-A339-47FE-C650-EFC5A24FFA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76264" y="835025"/>
            <a:ext cx="2641070" cy="3897313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sz="1200" dirty="0"/>
              <a:t>Determine level of Power and Interest.</a:t>
            </a:r>
          </a:p>
          <a:p>
            <a:r>
              <a:rPr lang="en-US" sz="1200" dirty="0"/>
              <a:t>Place post-it with name in relevant quadrants.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F0144C6-86A0-456C-BFCF-16EA54F8F8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 anchor="ctr">
            <a:normAutofit/>
          </a:bodyPr>
          <a:lstStyle/>
          <a:p>
            <a:r>
              <a:rPr lang="en-US"/>
              <a:t>Mayfield Stakeholder Communication Ma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5426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J0heV53PlGtRYX1JzAFO0FAAAAAAADAAAAAwADAAAAAQADAAEA////////BAAAAAMAEAALm6GqAtnBEU68A6dwI+nKE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CJ0heV53PlGtRYX1JzAFO0DRGF0YQAbAAAABExpbmtlZFNoYXBlRGF0YQAFAAAAAAACTmFtZQAZAAAATGlua2VkU2hhcGVzRGF0YVByb3BlcnR5ABBWZXJzaW9uAAAAAAAJTGFzdFdyaXRlAMzT+5l6AQAAAAEA/////50AnQAAAAVfaWQAEAAAAASboaoC2cERTrwDp3Aj6coQA0RhdGEAKgAAAAhQcmVzZW50YXRpb25TY2FubmVkRm9yTGlua2VkU2hhcGVzAAEAAk5hbWUAJAAAAExpbmtlZFNoYXBlUHJlc2VudGF0aW9uU2V0dGluZ3NEYXRhABBWZXJzaW9uAAAAAAAJTGFzdFdyaXRlAN/T+5l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COAUTHORING_SESSION_ID" val="b566149e-3710-4e24-8c13-ab592f63e281"/>
  <p:tag name="UNDO_REDO_REVISION" val="91"/>
  <p:tag name="MIO_PRESENTATION_LANGUAGE" val="1033"/>
</p:tagLst>
</file>

<file path=ppt/theme/theme1.xml><?xml version="1.0" encoding="utf-8"?>
<a:theme xmlns:a="http://schemas.openxmlformats.org/drawingml/2006/main" name="Elsevier light">
  <a:themeElements>
    <a:clrScheme name="Elsevier2_0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679E0"/>
      </a:accent1>
      <a:accent2>
        <a:srgbClr val="EB6500"/>
      </a:accent2>
      <a:accent3>
        <a:srgbClr val="8E8E8E"/>
      </a:accent3>
      <a:accent4>
        <a:srgbClr val="CDE4FF"/>
      </a:accent4>
      <a:accent5>
        <a:srgbClr val="FFF0E4"/>
      </a:accent5>
      <a:accent6>
        <a:srgbClr val="DCDCDC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FD9B95B7-7997-4FB9-A47B-A8D416D981DD}"/>
    </a:ext>
  </a:extLst>
</a:theme>
</file>

<file path=ppt/theme/theme2.xml><?xml version="1.0" encoding="utf-8"?>
<a:theme xmlns:a="http://schemas.openxmlformats.org/drawingml/2006/main" name="Elsevier light - Charts and Data">
  <a:themeElements>
    <a:clrScheme name="Elsevier_ChartsAndData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AABF0"/>
      </a:accent1>
      <a:accent2>
        <a:srgbClr val="702862"/>
      </a:accent2>
      <a:accent3>
        <a:srgbClr val="FF6E7D"/>
      </a:accent3>
      <a:accent4>
        <a:srgbClr val="D6EA08"/>
      </a:accent4>
      <a:accent5>
        <a:srgbClr val="FF322B"/>
      </a:accent5>
      <a:accent6>
        <a:srgbClr val="00BDC4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F1895935-4782-4ED3-9F2E-DA9302EF7568}"/>
    </a:ext>
  </a:extLst>
</a:theme>
</file>

<file path=ppt/theme/theme3.xml><?xml version="1.0" encoding="utf-8"?>
<a:theme xmlns:a="http://schemas.openxmlformats.org/drawingml/2006/main" name="Elsevier dark">
  <a:themeElements>
    <a:clrScheme name="Elsevier_2.0_Dark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679E0"/>
      </a:accent1>
      <a:accent2>
        <a:srgbClr val="EB6500"/>
      </a:accent2>
      <a:accent3>
        <a:srgbClr val="8E8E8E"/>
      </a:accent3>
      <a:accent4>
        <a:srgbClr val="CDE4FF"/>
      </a:accent4>
      <a:accent5>
        <a:srgbClr val="FFF0E4"/>
      </a:accent5>
      <a:accent6>
        <a:srgbClr val="DCDCDC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0B725E11-DC5A-4140-B411-6A18A3B7ACAE}"/>
    </a:ext>
  </a:extLst>
</a:theme>
</file>

<file path=ppt/theme/theme4.xml><?xml version="1.0" encoding="utf-8"?>
<a:theme xmlns:a="http://schemas.openxmlformats.org/drawingml/2006/main" name="Elsevier dark - Charts and Data">
  <a:themeElements>
    <a:clrScheme name="Elsevier_ChartsAndData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AABF0"/>
      </a:accent1>
      <a:accent2>
        <a:srgbClr val="702862"/>
      </a:accent2>
      <a:accent3>
        <a:srgbClr val="FF6E7D"/>
      </a:accent3>
      <a:accent4>
        <a:srgbClr val="D6EA08"/>
      </a:accent4>
      <a:accent5>
        <a:srgbClr val="FF322B"/>
      </a:accent5>
      <a:accent6>
        <a:srgbClr val="00BDC4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8CCF67CE-5720-4FD2-9BFE-20E687D75710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E348B14100478439B228EE79A1B0B35" ma:contentTypeVersion="17" ma:contentTypeDescription="Create a new document." ma:contentTypeScope="" ma:versionID="fda3b940475e225def7496bc6389ff41">
  <xsd:schema xmlns:xsd="http://www.w3.org/2001/XMLSchema" xmlns:xs="http://www.w3.org/2001/XMLSchema" xmlns:p="http://schemas.microsoft.com/office/2006/metadata/properties" xmlns:ns2="15f75b03-0f17-43e3-9e6a-42c8d770b314" xmlns:ns3="7e8b2d76-80fd-4918-8536-85abfc1e3245" targetNamespace="http://schemas.microsoft.com/office/2006/metadata/properties" ma:root="true" ma:fieldsID="22f00764a2dca8119bd5a0658ae44cfe" ns2:_="" ns3:_="">
    <xsd:import namespace="15f75b03-0f17-43e3-9e6a-42c8d770b314"/>
    <xsd:import namespace="7e8b2d76-80fd-4918-8536-85abfc1e324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f75b03-0f17-43e3-9e6a-42c8d770b3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02763e4d-7885-4cd8-8534-835ebc0ece8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8b2d76-80fd-4918-8536-85abfc1e3245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bf519a0d-4344-4b88-9312-d1de238c7e8a}" ma:internalName="TaxCatchAll" ma:showField="CatchAllData" ma:web="7e8b2d76-80fd-4918-8536-85abfc1e324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5f75b03-0f17-43e3-9e6a-42c8d770b314">
      <Terms xmlns="http://schemas.microsoft.com/office/infopath/2007/PartnerControls"/>
    </lcf76f155ced4ddcb4097134ff3c332f>
    <TaxCatchAll xmlns="7e8b2d76-80fd-4918-8536-85abfc1e3245" xsi:nil="true"/>
    <SharedWithUsers xmlns="7e8b2d76-80fd-4918-8536-85abfc1e3245">
      <UserInfo>
        <DisplayName>Tabar, Genoveva E. (REPH-MNL)</DisplayName>
        <AccountId>6819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4B6F7B44-D12D-4133-882D-CE666F81DAB4}"/>
</file>

<file path=customXml/itemProps2.xml><?xml version="1.0" encoding="utf-8"?>
<ds:datastoreItem xmlns:ds="http://schemas.openxmlformats.org/officeDocument/2006/customXml" ds:itemID="{B7772028-542F-4232-B56D-2478C8F8DD04}"/>
</file>

<file path=customXml/itemProps3.xml><?xml version="1.0" encoding="utf-8"?>
<ds:datastoreItem xmlns:ds="http://schemas.openxmlformats.org/officeDocument/2006/customXml" ds:itemID="{BA601374-67A4-41F6-8A54-5BF56EF7E167}"/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1</TotalTime>
  <Words>42</Words>
  <Application>Microsoft Office PowerPoint</Application>
  <PresentationFormat>On-screen Show (16:9)</PresentationFormat>
  <Paragraphs>20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ourier New</vt:lpstr>
      <vt:lpstr>Elsevier light</vt:lpstr>
      <vt:lpstr>Elsevier light - Charts and Data</vt:lpstr>
      <vt:lpstr>Elsevier dark</vt:lpstr>
      <vt:lpstr>Elsevier dark - Charts and Data</vt:lpstr>
      <vt:lpstr>Mayfield Stakeholder Map</vt:lpstr>
      <vt:lpstr>Mayfield Stakeholder Communication Ma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ctions</dc:title>
  <dc:creator>Daniel</dc:creator>
  <cp:lastModifiedBy>Daniel</cp:lastModifiedBy>
  <cp:revision>3</cp:revision>
  <cp:lastPrinted>2018-07-23T12:36:44Z</cp:lastPrinted>
  <dcterms:created xsi:type="dcterms:W3CDTF">2022-11-09T07:12:58Z</dcterms:created>
  <dcterms:modified xsi:type="dcterms:W3CDTF">2022-11-09T07:44:39Z</dcterms:modified>
  <cp:version>1.0.0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sedEntity">
    <vt:lpwstr>Templates</vt:lpwstr>
  </property>
  <property fmtid="{D5CDD505-2E9C-101B-9397-08002B2CF9AE}" pid="3" name="MSIP_Label_549ac42a-3eb4-4074-b885-aea26bd6241e_Enabled">
    <vt:lpwstr>true</vt:lpwstr>
  </property>
  <property fmtid="{D5CDD505-2E9C-101B-9397-08002B2CF9AE}" pid="4" name="MSIP_Label_549ac42a-3eb4-4074-b885-aea26bd6241e_SetDate">
    <vt:lpwstr>2022-11-09T07:13:01Z</vt:lpwstr>
  </property>
  <property fmtid="{D5CDD505-2E9C-101B-9397-08002B2CF9AE}" pid="5" name="MSIP_Label_549ac42a-3eb4-4074-b885-aea26bd6241e_Method">
    <vt:lpwstr>Standard</vt:lpwstr>
  </property>
  <property fmtid="{D5CDD505-2E9C-101B-9397-08002B2CF9AE}" pid="6" name="MSIP_Label_549ac42a-3eb4-4074-b885-aea26bd6241e_Name">
    <vt:lpwstr>General Business</vt:lpwstr>
  </property>
  <property fmtid="{D5CDD505-2E9C-101B-9397-08002B2CF9AE}" pid="7" name="MSIP_Label_549ac42a-3eb4-4074-b885-aea26bd6241e_SiteId">
    <vt:lpwstr>9274ee3f-9425-4109-a27f-9fb15c10675d</vt:lpwstr>
  </property>
  <property fmtid="{D5CDD505-2E9C-101B-9397-08002B2CF9AE}" pid="8" name="MSIP_Label_549ac42a-3eb4-4074-b885-aea26bd6241e_ActionId">
    <vt:lpwstr>9b7a6aa4-6320-470a-bd59-d6402233b781</vt:lpwstr>
  </property>
  <property fmtid="{D5CDD505-2E9C-101B-9397-08002B2CF9AE}" pid="9" name="MSIP_Label_549ac42a-3eb4-4074-b885-aea26bd6241e_ContentBits">
    <vt:lpwstr>0</vt:lpwstr>
  </property>
  <property fmtid="{D5CDD505-2E9C-101B-9397-08002B2CF9AE}" pid="10" name="ContentTypeId">
    <vt:lpwstr>0x010100EE348B14100478439B228EE79A1B0B35</vt:lpwstr>
  </property>
</Properties>
</file>